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36" r:id="rId1"/>
    <p:sldMasterId id="2147483856" r:id="rId2"/>
  </p:sldMasterIdLst>
  <p:notesMasterIdLst>
    <p:notesMasterId r:id="rId15"/>
  </p:notesMasterIdLst>
  <p:handoutMasterIdLst>
    <p:handoutMasterId r:id="rId16"/>
  </p:handoutMasterIdLst>
  <p:sldIdLst>
    <p:sldId id="5831" r:id="rId3"/>
    <p:sldId id="5833" r:id="rId4"/>
    <p:sldId id="5840" r:id="rId5"/>
    <p:sldId id="5838" r:id="rId6"/>
    <p:sldId id="268" r:id="rId7"/>
    <p:sldId id="5635" r:id="rId8"/>
    <p:sldId id="5826" r:id="rId9"/>
    <p:sldId id="5827" r:id="rId10"/>
    <p:sldId id="5628" r:id="rId11"/>
    <p:sldId id="5632" r:id="rId12"/>
    <p:sldId id="5830" r:id="rId13"/>
    <p:sldId id="5841" r:id="rId14"/>
  </p:sldIdLst>
  <p:sldSz cx="12192000" cy="6858000"/>
  <p:notesSz cx="6858000" cy="9144000"/>
  <p:custDataLst>
    <p:tags r:id="rId1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Про шаблон" id="{99E58412-52C1-4F16-81A5-D283431EF262}">
          <p14:sldIdLst>
            <p14:sldId id="5831"/>
            <p14:sldId id="5833"/>
            <p14:sldId id="5840"/>
            <p14:sldId id="5838"/>
            <p14:sldId id="268"/>
            <p14:sldId id="5635"/>
            <p14:sldId id="5826"/>
            <p14:sldId id="5827"/>
            <p14:sldId id="5628"/>
            <p14:sldId id="5632"/>
            <p14:sldId id="5830"/>
            <p14:sldId id="5841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2160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335FE3B-7FEE-F9CA-6602-52F2C6A56FDA}" name="Makarova Ekaterina Igorevna" initials="MEI" userId="S::ekatemakarova@ozon.ru::df33a66a-aff7-4495-b141-877bb0962bb2" providerId="AD"/>
  <p188:author id="{5433AA87-8F28-4F76-44FE-E75104D3D962}" name="Ostrovlyanchik Pavel Viktorovich" initials="OPV" userId="S::postrovlyanchik@ozon.ru::5926a54d-3e0c-4345-9bfd-a8b860e1f60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strovlyanchik Pavel Viktorovich" initials="OPV" lastIdx="1" clrIdx="0">
    <p:extLst>
      <p:ext uri="{19B8F6BF-5375-455C-9EA6-DF929625EA0E}">
        <p15:presenceInfo xmlns:p15="http://schemas.microsoft.com/office/powerpoint/2012/main" userId="S::postrovlyanchik@ozon.ru::5926a54d-3e0c-4345-9bfd-a8b860e1f60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FF"/>
    <a:srgbClr val="FA0F55"/>
    <a:srgbClr val="00A2FF"/>
    <a:srgbClr val="61E1F4"/>
    <a:srgbClr val="CBDEFF"/>
    <a:srgbClr val="96A3AE"/>
    <a:srgbClr val="003699"/>
    <a:srgbClr val="9C0331"/>
    <a:srgbClr val="006199"/>
    <a:srgbClr val="0DA8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14A2982-056F-4F8E-A7C0-7B2B0B0CB698}">
  <a:tblStyle styleId="{914A2982-056F-4F8E-A7C0-7B2B0B0CB698}" styleName="Ozon Light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6350" cmpd="sng">
              <a:solidFill>
                <a:schemeClr val="accent6"/>
              </a:solidFill>
            </a:ln>
          </a:insideH>
          <a:insideV>
            <a:ln w="0" cmpd="sng">
              <a:solidFill>
                <a:schemeClr val="lt1"/>
              </a:solidFill>
            </a:ln>
          </a:insideV>
        </a:tcBdr>
        <a:fill>
          <a:solidFill>
            <a:schemeClr val="lt1">
              <a:alpha val="0"/>
            </a:schemeClr>
          </a:solidFill>
        </a:fill>
      </a:tcStyle>
    </a:wholeTbl>
    <a:band1H>
      <a:tcStyle>
        <a:tcBdr/>
        <a:fill>
          <a:solidFill>
            <a:schemeClr val="accent6">
              <a:alpha val="0"/>
            </a:schemeClr>
          </a:solidFill>
        </a:fill>
      </a:tcStyle>
    </a:band1H>
    <a:band2H>
      <a:tcStyle>
        <a:tcBdr/>
        <a:fill>
          <a:solidFill>
            <a:schemeClr val="accent6">
              <a:alpha val="20000"/>
            </a:schemeClr>
          </a:solidFill>
        </a:fill>
      </a:tcStyle>
    </a:band2H>
    <a:band1V>
      <a:tcStyle>
        <a:tcBdr/>
        <a:fill>
          <a:solidFill>
            <a:schemeClr val="accent6">
              <a:alpha val="0"/>
            </a:schemeClr>
          </a:solidFill>
        </a:fill>
      </a:tcStyle>
    </a:band1V>
    <a:band2V>
      <a:tcStyle>
        <a:tcBdr/>
        <a:fill>
          <a:solidFill>
            <a:schemeClr val="accent6">
              <a:alpha val="20000"/>
            </a:schemeClr>
          </a:solidFill>
        </a:fill>
      </a:tcStyle>
    </a:band2V>
    <a:lastCol>
      <a:tcTxStyle b="on">
        <a:fontRef idx="minor">
          <a:prstClr val="black"/>
        </a:fontRef>
        <a:schemeClr val="dk1"/>
      </a:tcTxStyle>
      <a:tcStyle>
        <a:tcBdr/>
        <a:fill>
          <a:solidFill>
            <a:schemeClr val="accent6">
              <a:alpha val="40000"/>
            </a:schemeClr>
          </a:solidFill>
        </a:fill>
      </a:tcStyle>
    </a:lastCol>
    <a:firstCol>
      <a:tcTxStyle b="on">
        <a:fontRef idx="minor">
          <a:prstClr val="black"/>
        </a:fontRef>
        <a:schemeClr val="dk1"/>
      </a:tcTxStyle>
      <a:tcStyle>
        <a:tcBdr/>
        <a:fill>
          <a:solidFill>
            <a:schemeClr val="accent6">
              <a:alpha val="40000"/>
            </a:schemeClr>
          </a:solidFill>
        </a:fill>
      </a:tcStyle>
    </a:firstCol>
    <a:lastRow>
      <a:tcTxStyle b="on">
        <a:fontRef idx="minor">
          <a:prstClr val="black"/>
        </a:fontRef>
        <a:schemeClr val="dk1"/>
      </a:tcTxStyle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solidFill>
            <a:schemeClr val="accent6">
              <a:alpha val="60000"/>
            </a:schemeClr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0" cmpd="sng">
              <a:solidFill>
                <a:schemeClr val="accent6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8467CCE-9AFA-45B7-9190-6F7425A13B29}" styleName="Ozon Dark">
    <a:wholeTbl>
      <a:tcTxStyle>
        <a:fontRef idx="minor">
          <a:prstClr val="black"/>
        </a:fontRef>
        <a:schemeClr val="lt2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12700" cmpd="sng">
              <a:solidFill>
                <a:schemeClr val="accent6">
                  <a:alpha val="40000"/>
                </a:schemeClr>
              </a:solidFill>
            </a:ln>
          </a:top>
          <a:bottom>
            <a:ln w="12700" cmpd="sng">
              <a:solidFill>
                <a:schemeClr val="accent6">
                  <a:alpha val="40000"/>
                </a:schemeClr>
              </a:solidFill>
            </a:ln>
          </a:bottom>
          <a:insideH>
            <a:ln w="6350" cmpd="sng">
              <a:solidFill>
                <a:schemeClr val="accent6">
                  <a:alpha val="40000"/>
                </a:schemeClr>
              </a:solidFill>
            </a:ln>
          </a:insideH>
          <a:insideV>
            <a:ln w="0" cmpd="sng">
              <a:solidFill>
                <a:schemeClr val="lt1"/>
              </a:solidFill>
            </a:ln>
          </a:insideV>
        </a:tcBdr>
        <a:fill>
          <a:solidFill>
            <a:schemeClr val="lt1">
              <a:alpha val="0"/>
            </a:schemeClr>
          </a:solidFill>
        </a:fill>
      </a:tcStyle>
    </a:wholeTbl>
    <a:band1H>
      <a:tcStyle>
        <a:tcBdr/>
        <a:fill>
          <a:solidFill>
            <a:schemeClr val="accent6">
              <a:alpha val="0"/>
            </a:schemeClr>
          </a:solidFill>
        </a:fill>
      </a:tcStyle>
    </a:band1H>
    <a:band2H>
      <a:tcStyle>
        <a:tcBdr/>
        <a:fill>
          <a:solidFill>
            <a:schemeClr val="accent6">
              <a:alpha val="10000"/>
            </a:schemeClr>
          </a:solidFill>
        </a:fill>
      </a:tcStyle>
    </a:band2H>
    <a:band1V>
      <a:tcStyle>
        <a:tcBdr/>
        <a:fill>
          <a:solidFill>
            <a:schemeClr val="accent6">
              <a:alpha val="0"/>
            </a:schemeClr>
          </a:solidFill>
        </a:fill>
      </a:tcStyle>
    </a:band1V>
    <a:band2V>
      <a:tcStyle>
        <a:tcBdr/>
        <a:fill>
          <a:solidFill>
            <a:schemeClr val="accent6">
              <a:alpha val="10000"/>
            </a:schemeClr>
          </a:solidFill>
        </a:fill>
      </a:tcStyle>
    </a:band2V>
    <a:lastCol>
      <a:tcTxStyle b="on">
        <a:fontRef idx="minor">
          <a:prstClr val="white"/>
        </a:fontRef>
        <a:schemeClr val="lt2"/>
      </a:tcTxStyle>
      <a:tcStyle>
        <a:tcBdr/>
        <a:fill>
          <a:solidFill>
            <a:schemeClr val="accent6">
              <a:alpha val="20000"/>
            </a:schemeClr>
          </a:solidFill>
        </a:fill>
      </a:tcStyle>
    </a:lastCol>
    <a:firstCol>
      <a:tcTxStyle b="on">
        <a:fontRef idx="minor">
          <a:prstClr val="white"/>
        </a:fontRef>
        <a:schemeClr val="lt2"/>
      </a:tcTxStyle>
      <a:tcStyle>
        <a:tcBdr/>
        <a:fill>
          <a:solidFill>
            <a:schemeClr val="accent6">
              <a:alpha val="20000"/>
            </a:schemeClr>
          </a:solidFill>
        </a:fill>
      </a:tcStyle>
    </a:firstCol>
    <a:lastRow>
      <a:tcTxStyle b="on">
        <a:fontRef idx="minor">
          <a:prstClr val="white"/>
        </a:fontRef>
        <a:schemeClr val="lt2"/>
      </a:tcTxStyle>
      <a:tcStyle>
        <a:tcBdr>
          <a:top>
            <a:ln w="12700" cmpd="sng">
              <a:solidFill>
                <a:schemeClr val="accent6">
                  <a:alpha val="50000"/>
                </a:schemeClr>
              </a:solidFill>
            </a:ln>
          </a:top>
        </a:tcBdr>
        <a:fill>
          <a:solidFill>
            <a:schemeClr val="accent6">
              <a:alpha val="30000"/>
            </a:schemeClr>
          </a:solidFill>
        </a:fill>
      </a:tcStyle>
    </a:lastRow>
    <a:firstRow>
      <a:tcTxStyle b="on">
        <a:fontRef idx="minor">
          <a:prstClr val="white"/>
        </a:fontRef>
        <a:schemeClr val="lt2"/>
      </a:tcTxStyle>
      <a:tcStyle>
        <a:tcBdr>
          <a:bottom>
            <a:ln w="0" cmpd="sng">
              <a:solidFill>
                <a:schemeClr val="accent6">
                  <a:alpha val="35000"/>
                </a:schemeClr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629" autoAdjust="0"/>
    <p:restoredTop sz="95971" autoAdjust="0"/>
  </p:normalViewPr>
  <p:slideViewPr>
    <p:cSldViewPr snapToGrid="0">
      <p:cViewPr varScale="1">
        <p:scale>
          <a:sx n="74" d="100"/>
          <a:sy n="74" d="100"/>
        </p:scale>
        <p:origin x="744" y="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-36632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YoY total,%</c:v>
                </c:pt>
              </c:strCache>
            </c:strRef>
          </c:tx>
          <c:spPr>
            <a:solidFill>
              <a:schemeClr val="accent1"/>
            </a:solidFill>
            <a:ln w="63500">
              <a:solidFill>
                <a:srgbClr val="005BFE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cat>
          <c:val>
            <c:numRef>
              <c:f>Лист1!$B$2:$B$4</c:f>
              <c:numCache>
                <c:formatCode>0%</c:formatCode>
                <c:ptCount val="3"/>
                <c:pt idx="0">
                  <c:v>0.51737449884250775</c:v>
                </c:pt>
                <c:pt idx="1">
                  <c:v>0.49630465819269087</c:v>
                </c:pt>
                <c:pt idx="2">
                  <c:v>0.34390137696447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32-493D-AD9E-7105068D143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YoY продаж B2B, %</c:v>
                </c:pt>
              </c:strCache>
            </c:strRef>
          </c:tx>
          <c:spPr>
            <a:solidFill>
              <a:schemeClr val="accent2"/>
            </a:solidFill>
            <a:ln w="63500">
              <a:solidFill>
                <a:schemeClr val="accent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cat>
          <c:val>
            <c:numRef>
              <c:f>Лист1!$C$2:$C$4</c:f>
              <c:numCache>
                <c:formatCode>0%</c:formatCode>
                <c:ptCount val="3"/>
                <c:pt idx="0">
                  <c:v>1.0039448809486355</c:v>
                </c:pt>
                <c:pt idx="1">
                  <c:v>0.61424224708725772</c:v>
                </c:pt>
                <c:pt idx="2">
                  <c:v>0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AE5-407E-AF9A-93C01A75FCA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92"/>
        <c:overlap val="-27"/>
        <c:axId val="324988943"/>
        <c:axId val="324998511"/>
      </c:barChart>
      <c:catAx>
        <c:axId val="3249889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endParaRPr lang="ru-RU"/>
          </a:p>
        </c:txPr>
        <c:crossAx val="324998511"/>
        <c:crosses val="autoZero"/>
        <c:auto val="1"/>
        <c:lblAlgn val="ctr"/>
        <c:lblOffset val="100"/>
        <c:noMultiLvlLbl val="0"/>
      </c:catAx>
      <c:valAx>
        <c:axId val="324998511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3249889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j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+mj-lt"/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1.189127999329594E-2"/>
          <c:w val="0.9910438656650371"/>
          <c:h val="0.9072380286255258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Электронная карта школьник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Лист1!$A$2:$A$4</c:f>
              <c:numCache>
                <c:formatCode>0</c:formatCod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numCache>
            </c:numRef>
          </c:cat>
          <c:val>
            <c:numRef>
              <c:f>Лист1!$B$2:$B$4</c:f>
              <c:numCache>
                <c:formatCode>0.0%</c:formatCode>
                <c:ptCount val="3"/>
                <c:pt idx="0">
                  <c:v>8.3094236414163079E-4</c:v>
                </c:pt>
                <c:pt idx="1">
                  <c:v>6.7280648801382214E-4</c:v>
                </c:pt>
                <c:pt idx="2">
                  <c:v>5.904671413860524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75-4ED3-930A-BC4519F4ACC1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астенные карты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Лист1!$A$2:$A$4</c:f>
              <c:numCache>
                <c:formatCode>0</c:formatCod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numCache>
            </c:numRef>
          </c:cat>
          <c:val>
            <c:numRef>
              <c:f>Лист1!$C$2:$C$4</c:f>
              <c:numCache>
                <c:formatCode>0.0%</c:formatCode>
                <c:ptCount val="3"/>
                <c:pt idx="0">
                  <c:v>3.7188947430475796E-3</c:v>
                </c:pt>
                <c:pt idx="1">
                  <c:v>3.7210541546925206E-3</c:v>
                </c:pt>
                <c:pt idx="2">
                  <c:v>3.276837107372767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75-4ED3-930A-BC4519F4ACC1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Глобус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Лист1!$A$2:$A$4</c:f>
              <c:numCache>
                <c:formatCode>0</c:formatCod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numCache>
            </c:numRef>
          </c:cat>
          <c:val>
            <c:numRef>
              <c:f>Лист1!$D$2:$D$4</c:f>
              <c:numCache>
                <c:formatCode>0.0%</c:formatCode>
                <c:ptCount val="3"/>
                <c:pt idx="0">
                  <c:v>5.555323447831397E-3</c:v>
                </c:pt>
                <c:pt idx="1">
                  <c:v>4.1945632097644854E-3</c:v>
                </c:pt>
                <c:pt idx="2">
                  <c:v>3.541647664335906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75-4ED3-930A-BC4519F4ACC1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ечати и штампы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Лист1!$A$2:$A$4</c:f>
              <c:numCache>
                <c:formatCode>0</c:formatCod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numCache>
            </c:numRef>
          </c:cat>
          <c:val>
            <c:numRef>
              <c:f>Лист1!$E$2:$E$4</c:f>
              <c:numCache>
                <c:formatCode>0.0%</c:formatCode>
                <c:ptCount val="3"/>
                <c:pt idx="0">
                  <c:v>9.2589533955584353E-3</c:v>
                </c:pt>
                <c:pt idx="1">
                  <c:v>1.1375734044417057E-2</c:v>
                </c:pt>
                <c:pt idx="2">
                  <c:v>1.146829014176718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C75-4ED3-930A-BC4519F4ACC1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Чертежные принадлежности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Лист1!$A$2:$A$4</c:f>
              <c:numCache>
                <c:formatCode>0</c:formatCod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numCache>
            </c:numRef>
          </c:cat>
          <c:val>
            <c:numRef>
              <c:f>Лист1!$F$2:$F$4</c:f>
              <c:numCache>
                <c:formatCode>0.0%</c:formatCode>
                <c:ptCount val="3"/>
                <c:pt idx="0">
                  <c:v>2.4750525759652212E-2</c:v>
                </c:pt>
                <c:pt idx="1">
                  <c:v>2.3139248371093053E-2</c:v>
                </c:pt>
                <c:pt idx="2">
                  <c:v>2.424575221072888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C75-4ED3-930A-BC4519F4ACC1}"/>
            </c:ext>
          </c:extLst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Ежедневник, планинг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Лист1!$A$2:$A$4</c:f>
              <c:numCache>
                <c:formatCode>0</c:formatCod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numCache>
            </c:numRef>
          </c:cat>
          <c:val>
            <c:numRef>
              <c:f>Лист1!$G$2:$G$4</c:f>
              <c:numCache>
                <c:formatCode>0.0%</c:formatCode>
                <c:ptCount val="3"/>
                <c:pt idx="0">
                  <c:v>2.5139478750523633E-2</c:v>
                </c:pt>
                <c:pt idx="1">
                  <c:v>2.3410623082728229E-2</c:v>
                </c:pt>
                <c:pt idx="2">
                  <c:v>2.19161292982906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C75-4ED3-930A-BC4519F4ACC1}"/>
            </c:ext>
          </c:extLst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Школьные принадлежности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2"/>
                    </a:solidFill>
                    <a:latin typeface="+mj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0</c:formatCod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numCache>
            </c:numRef>
          </c:cat>
          <c:val>
            <c:numRef>
              <c:f>Лист1!$H$2:$H$4</c:f>
              <c:numCache>
                <c:formatCode>0.0%</c:formatCode>
                <c:ptCount val="3"/>
                <c:pt idx="0">
                  <c:v>3.1429717332127162E-2</c:v>
                </c:pt>
                <c:pt idx="1">
                  <c:v>3.005261470765826E-2</c:v>
                </c:pt>
                <c:pt idx="2">
                  <c:v>2.956486176581201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C75-4ED3-930A-BC4519F4ACC1}"/>
            </c:ext>
          </c:extLst>
        </c:ser>
        <c:ser>
          <c:idx val="7"/>
          <c:order val="7"/>
          <c:tx>
            <c:strRef>
              <c:f>Лист1!$I$1</c:f>
              <c:strCache>
                <c:ptCount val="1"/>
                <c:pt idx="0">
                  <c:v>Демонстрационное оборудование и аксессуары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2"/>
                    </a:solidFill>
                    <a:latin typeface="+mj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0</c:formatCod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numCache>
            </c:numRef>
          </c:cat>
          <c:val>
            <c:numRef>
              <c:f>Лист1!$I$2:$I$4</c:f>
              <c:numCache>
                <c:formatCode>0.0%</c:formatCode>
                <c:ptCount val="3"/>
                <c:pt idx="0">
                  <c:v>3.250588803182515E-2</c:v>
                </c:pt>
                <c:pt idx="1">
                  <c:v>3.0927247277346769E-2</c:v>
                </c:pt>
                <c:pt idx="2">
                  <c:v>2.96115549380187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C75-4ED3-930A-BC4519F4ACC1}"/>
            </c:ext>
          </c:extLst>
        </c:ser>
        <c:ser>
          <c:idx val="8"/>
          <c:order val="8"/>
          <c:tx>
            <c:strRef>
              <c:f>Лист1!$J$1</c:f>
              <c:strCache>
                <c:ptCount val="1"/>
                <c:pt idx="0">
                  <c:v>Оборудование для магазина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2"/>
                    </a:solidFill>
                    <a:latin typeface="+mj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0</c:formatCod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numCache>
            </c:numRef>
          </c:cat>
          <c:val>
            <c:numRef>
              <c:f>Лист1!$J$2:$J$4</c:f>
              <c:numCache>
                <c:formatCode>0.0%</c:formatCode>
                <c:ptCount val="3"/>
                <c:pt idx="0">
                  <c:v>3.223763025356282E-2</c:v>
                </c:pt>
                <c:pt idx="1">
                  <c:v>4.0635666640877477E-2</c:v>
                </c:pt>
                <c:pt idx="2">
                  <c:v>3.94146905247128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C75-4ED3-930A-BC4519F4ACC1}"/>
            </c:ext>
          </c:extLst>
        </c:ser>
        <c:ser>
          <c:idx val="9"/>
          <c:order val="9"/>
          <c:tx>
            <c:strRef>
              <c:f>Лист1!$K$1</c:f>
              <c:strCache>
                <c:ptCount val="1"/>
                <c:pt idx="0">
                  <c:v>Бумага офисная белая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2"/>
                    </a:solidFill>
                    <a:latin typeface="+mj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0</c:formatCod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numCache>
            </c:numRef>
          </c:cat>
          <c:val>
            <c:numRef>
              <c:f>Лист1!$K$2:$K$4</c:f>
              <c:numCache>
                <c:formatCode>0.0%</c:formatCode>
                <c:ptCount val="3"/>
                <c:pt idx="0">
                  <c:v>3.3385347280363582E-2</c:v>
                </c:pt>
                <c:pt idx="1">
                  <c:v>4.0064713006763855E-2</c:v>
                </c:pt>
                <c:pt idx="2">
                  <c:v>4.463904955737638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C75-4ED3-930A-BC4519F4ACC1}"/>
            </c:ext>
          </c:extLst>
        </c:ser>
        <c:ser>
          <c:idx val="10"/>
          <c:order val="10"/>
          <c:tx>
            <c:strRef>
              <c:f>Лист1!$L$1</c:f>
              <c:strCache>
                <c:ptCount val="1"/>
                <c:pt idx="0">
                  <c:v>Тетрадь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bg2"/>
                    </a:solidFill>
                    <a:latin typeface="+mj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0</c:formatCod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numCache>
            </c:numRef>
          </c:cat>
          <c:val>
            <c:numRef>
              <c:f>Лист1!$L$2:$L$4</c:f>
              <c:numCache>
                <c:formatCode>0.0%</c:formatCode>
                <c:ptCount val="3"/>
                <c:pt idx="0">
                  <c:v>4.1548050152526481E-2</c:v>
                </c:pt>
                <c:pt idx="1">
                  <c:v>4.0848102635850439E-2</c:v>
                </c:pt>
                <c:pt idx="2">
                  <c:v>4.785586693909243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C75-4ED3-930A-BC4519F4ACC1}"/>
            </c:ext>
          </c:extLst>
        </c:ser>
        <c:ser>
          <c:idx val="11"/>
          <c:order val="11"/>
          <c:tx>
            <c:strRef>
              <c:f>Лист1!$M$1</c:f>
              <c:strCache>
                <c:ptCount val="1"/>
                <c:pt idx="0">
                  <c:v>Папка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bg2"/>
                    </a:solidFill>
                    <a:latin typeface="+mj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0</c:formatCod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numCache>
            </c:numRef>
          </c:cat>
          <c:val>
            <c:numRef>
              <c:f>Лист1!$M$2:$M$4</c:f>
              <c:numCache>
                <c:formatCode>0.0%</c:formatCode>
                <c:ptCount val="3"/>
                <c:pt idx="0">
                  <c:v>3.8818201552230543E-2</c:v>
                </c:pt>
                <c:pt idx="1">
                  <c:v>4.1126691593453321E-2</c:v>
                </c:pt>
                <c:pt idx="2">
                  <c:v>4.41423849869548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C75-4ED3-930A-BC4519F4ACC1}"/>
            </c:ext>
          </c:extLst>
        </c:ser>
        <c:ser>
          <c:idx val="12"/>
          <c:order val="12"/>
          <c:tx>
            <c:strRef>
              <c:f>Лист1!$N$1</c:f>
              <c:strCache>
                <c:ptCount val="1"/>
                <c:pt idx="0">
                  <c:v>Ранец, рюкзак, сумка школьные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bg2"/>
                    </a:solidFill>
                    <a:latin typeface="+mj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0</c:formatCod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numCache>
            </c:numRef>
          </c:cat>
          <c:val>
            <c:numRef>
              <c:f>Лист1!$N$2:$N$4</c:f>
              <c:numCache>
                <c:formatCode>0.0%</c:formatCode>
                <c:ptCount val="3"/>
                <c:pt idx="0">
                  <c:v>0.12938069186705284</c:v>
                </c:pt>
                <c:pt idx="1">
                  <c:v>0.12598640424869881</c:v>
                </c:pt>
                <c:pt idx="2">
                  <c:v>0.10766431698258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AC75-4ED3-930A-BC4519F4ACC1}"/>
            </c:ext>
          </c:extLst>
        </c:ser>
        <c:ser>
          <c:idx val="13"/>
          <c:order val="13"/>
          <c:tx>
            <c:strRef>
              <c:f>Лист1!$O$1</c:f>
              <c:strCache>
                <c:ptCount val="1"/>
                <c:pt idx="0">
                  <c:v>Письменные принадлежности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bg2"/>
                    </a:solidFill>
                    <a:latin typeface="+mj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0</c:formatCod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numCache>
            </c:numRef>
          </c:cat>
          <c:val>
            <c:numRef>
              <c:f>Лист1!$O$2:$O$4</c:f>
              <c:numCache>
                <c:formatCode>0.0%</c:formatCode>
                <c:ptCount val="3"/>
                <c:pt idx="0">
                  <c:v>0.13373593720132812</c:v>
                </c:pt>
                <c:pt idx="1">
                  <c:v>0.12825475224294294</c:v>
                </c:pt>
                <c:pt idx="2">
                  <c:v>0.13718907415237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AC75-4ED3-930A-BC4519F4ACC1}"/>
            </c:ext>
          </c:extLst>
        </c:ser>
        <c:ser>
          <c:idx val="14"/>
          <c:order val="14"/>
          <c:tx>
            <c:strRef>
              <c:f>Лист1!$P$1</c:f>
              <c:strCache>
                <c:ptCount val="1"/>
                <c:pt idx="0">
                  <c:v>Бумага офисная и бумажная продукция, кроме Бумага офисная белая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rgbClr val="0E1114"/>
                    </a:solidFill>
                    <a:latin typeface="+mj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0</c:formatCod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numCache>
            </c:numRef>
          </c:cat>
          <c:val>
            <c:numRef>
              <c:f>Лист1!$P$2:$P$4</c:f>
              <c:numCache>
                <c:formatCode>0.0%</c:formatCode>
                <c:ptCount val="3"/>
                <c:pt idx="0">
                  <c:v>0.12976758757290768</c:v>
                </c:pt>
                <c:pt idx="1">
                  <c:v>0.13821885690071534</c:v>
                </c:pt>
                <c:pt idx="2">
                  <c:v>0.148587636827611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AC75-4ED3-930A-BC4519F4ACC1}"/>
            </c:ext>
          </c:extLst>
        </c:ser>
        <c:ser>
          <c:idx val="15"/>
          <c:order val="15"/>
          <c:tx>
            <c:strRef>
              <c:f>Лист1!$Q$1</c:f>
              <c:strCache>
                <c:ptCount val="1"/>
                <c:pt idx="0">
                  <c:v>Офисные принадлежности</c:v>
                </c:pt>
              </c:strCache>
            </c:strRef>
          </c:tx>
          <c:spPr>
            <a:solidFill>
              <a:schemeClr val="accent4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rgbClr val="0E1114"/>
                    </a:solidFill>
                    <a:latin typeface="+mj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0</c:formatCod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numCache>
            </c:numRef>
          </c:cat>
          <c:val>
            <c:numRef>
              <c:f>Лист1!$Q$2:$Q$4</c:f>
              <c:numCache>
                <c:formatCode>0.0%</c:formatCode>
                <c:ptCount val="3"/>
                <c:pt idx="0">
                  <c:v>0.14522531390797189</c:v>
                </c:pt>
                <c:pt idx="1">
                  <c:v>0.15751959234975593</c:v>
                </c:pt>
                <c:pt idx="2">
                  <c:v>0.16095091874490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818-4C2C-A8F4-5AB5695E4732}"/>
            </c:ext>
          </c:extLst>
        </c:ser>
        <c:ser>
          <c:idx val="16"/>
          <c:order val="16"/>
          <c:tx>
            <c:strRef>
              <c:f>Лист1!$R$1</c:f>
              <c:strCache>
                <c:ptCount val="1"/>
                <c:pt idx="0">
                  <c:v>Рисование для детей</c:v>
                </c:pt>
              </c:strCache>
            </c:strRef>
          </c:tx>
          <c:spPr>
            <a:solidFill>
              <a:schemeClr val="accent5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rgbClr val="0E1114"/>
                    </a:solidFill>
                    <a:latin typeface="+mj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0</c:formatCod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numCache>
            </c:numRef>
          </c:cat>
          <c:val>
            <c:numRef>
              <c:f>Лист1!$R$2:$R$4</c:f>
              <c:numCache>
                <c:formatCode>0.0%</c:formatCode>
                <c:ptCount val="3"/>
                <c:pt idx="0">
                  <c:v>0.18271151638734873</c:v>
                </c:pt>
                <c:pt idx="1">
                  <c:v>0.15985132904522767</c:v>
                </c:pt>
                <c:pt idx="2">
                  <c:v>0.14534052101667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A8F-4D2D-9193-2AF1804DC34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65"/>
        <c:overlap val="100"/>
        <c:axId val="1504329040"/>
        <c:axId val="1504328208"/>
      </c:barChart>
      <c:catAx>
        <c:axId val="1504329040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rgbClr val="0E1114"/>
                </a:solidFill>
                <a:latin typeface="+mj-lt"/>
                <a:ea typeface="+mn-ea"/>
                <a:cs typeface="+mn-cs"/>
              </a:defRPr>
            </a:pPr>
            <a:endParaRPr lang="ru-RU"/>
          </a:p>
        </c:txPr>
        <c:crossAx val="1504328208"/>
        <c:crosses val="autoZero"/>
        <c:auto val="1"/>
        <c:lblAlgn val="ctr"/>
        <c:lblOffset val="100"/>
        <c:noMultiLvlLbl val="0"/>
      </c:catAx>
      <c:valAx>
        <c:axId val="1504328208"/>
        <c:scaling>
          <c:orientation val="minMax"/>
          <c:max val="1"/>
        </c:scaling>
        <c:delete val="1"/>
        <c:axPos val="l"/>
        <c:numFmt formatCode="0.0%" sourceLinked="1"/>
        <c:majorTickMark val="out"/>
        <c:minorTickMark val="none"/>
        <c:tickLblPos val="nextTo"/>
        <c:crossAx val="15043290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300" b="1">
          <a:solidFill>
            <a:srgbClr val="0E1114"/>
          </a:solidFill>
          <a:latin typeface="+mj-lt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9367C0CF-F4C0-95C7-86F3-9E8EE404102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>
              <a:latin typeface="Arial" panose="020B0604020202020204" pitchFamily="34" charset="0"/>
            </a:endParaRP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3DA1C796-539B-2804-7940-1270DC3BEFC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D7F4CF-5328-4739-960D-CA90DC7CEF08}" type="datetimeFigureOut">
              <a:rPr lang="ru-RU" smtClean="0">
                <a:latin typeface="Arial" panose="020B0604020202020204" pitchFamily="34" charset="0"/>
              </a:rPr>
              <a:t>11.05.2026</a:t>
            </a:fld>
            <a:endParaRPr lang="ru-RU">
              <a:latin typeface="Arial" panose="020B0604020202020204" pitchFamily="34" charset="0"/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3D4BBA8E-A71A-EF67-F4DE-6F8E4DB0542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>
              <a:latin typeface="Arial" panose="020B0604020202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276695C-9635-EDED-B81C-5F145B6A0AD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0B1485-3AA0-4E52-A81C-B7871651468E}" type="slidenum">
              <a:rPr lang="ru-RU" smtClean="0">
                <a:latin typeface="Arial" panose="020B0604020202020204" pitchFamily="34" charset="0"/>
              </a:rPr>
              <a:t>‹#›</a:t>
            </a:fld>
            <a:endParaRPr lang="ru-RU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007827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974A28E2-8F42-4A3C-8147-E3FFF422B139}" type="datetimeFigureOut">
              <a:rPr lang="ru-RU" smtClean="0"/>
              <a:pPr/>
              <a:t>11.05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650C9ADD-5F9E-49DE-A1DB-0FC1C68088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8851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Master" Target="../slideMasters/slideMaster1.xml"/><Relationship Id="rId18" Type="http://schemas.openxmlformats.org/officeDocument/2006/relationships/oleObject" Target="../embeddings/oleObject5.bin"/><Relationship Id="rId3" Type="http://schemas.openxmlformats.org/officeDocument/2006/relationships/tags" Target="../tags/tag4.xml"/><Relationship Id="rId21" Type="http://schemas.openxmlformats.org/officeDocument/2006/relationships/oleObject" Target="../embeddings/oleObject8.bin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oleObject" Target="../embeddings/oleObject4.bin"/><Relationship Id="rId25" Type="http://schemas.openxmlformats.org/officeDocument/2006/relationships/oleObject" Target="../embeddings/oleObject12.bin"/><Relationship Id="rId2" Type="http://schemas.openxmlformats.org/officeDocument/2006/relationships/tags" Target="../tags/tag3.xml"/><Relationship Id="rId16" Type="http://schemas.openxmlformats.org/officeDocument/2006/relationships/oleObject" Target="../embeddings/oleObject3.bin"/><Relationship Id="rId20" Type="http://schemas.openxmlformats.org/officeDocument/2006/relationships/oleObject" Target="../embeddings/oleObject7.bin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oleObject" Target="../embeddings/oleObject11.bin"/><Relationship Id="rId5" Type="http://schemas.openxmlformats.org/officeDocument/2006/relationships/tags" Target="../tags/tag6.xml"/><Relationship Id="rId15" Type="http://schemas.openxmlformats.org/officeDocument/2006/relationships/image" Target="../media/image1.emf"/><Relationship Id="rId23" Type="http://schemas.openxmlformats.org/officeDocument/2006/relationships/oleObject" Target="../embeddings/oleObject10.bin"/><Relationship Id="rId10" Type="http://schemas.openxmlformats.org/officeDocument/2006/relationships/tags" Target="../tags/tag11.xml"/><Relationship Id="rId19" Type="http://schemas.openxmlformats.org/officeDocument/2006/relationships/oleObject" Target="../embeddings/oleObject6.bin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oleObject" Target="../embeddings/oleObject2.bin"/><Relationship Id="rId22" Type="http://schemas.openxmlformats.org/officeDocument/2006/relationships/oleObject" Target="../embeddings/oleObject9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slideMaster" Target="../slideMasters/slideMaster2.xml"/><Relationship Id="rId18" Type="http://schemas.openxmlformats.org/officeDocument/2006/relationships/oleObject" Target="../embeddings/oleObject43.bin"/><Relationship Id="rId3" Type="http://schemas.openxmlformats.org/officeDocument/2006/relationships/tags" Target="../tags/tag42.xml"/><Relationship Id="rId21" Type="http://schemas.openxmlformats.org/officeDocument/2006/relationships/oleObject" Target="../embeddings/oleObject46.bin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oleObject" Target="../embeddings/oleObject42.bin"/><Relationship Id="rId25" Type="http://schemas.openxmlformats.org/officeDocument/2006/relationships/oleObject" Target="../embeddings/oleObject50.bin"/><Relationship Id="rId2" Type="http://schemas.openxmlformats.org/officeDocument/2006/relationships/tags" Target="../tags/tag41.xml"/><Relationship Id="rId16" Type="http://schemas.openxmlformats.org/officeDocument/2006/relationships/oleObject" Target="../embeddings/oleObject41.bin"/><Relationship Id="rId20" Type="http://schemas.openxmlformats.org/officeDocument/2006/relationships/oleObject" Target="../embeddings/oleObject45.bin"/><Relationship Id="rId1" Type="http://schemas.openxmlformats.org/officeDocument/2006/relationships/vmlDrawing" Target="../drawings/vmlDrawing20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oleObject" Target="../embeddings/oleObject49.bin"/><Relationship Id="rId5" Type="http://schemas.openxmlformats.org/officeDocument/2006/relationships/tags" Target="../tags/tag44.xml"/><Relationship Id="rId15" Type="http://schemas.openxmlformats.org/officeDocument/2006/relationships/image" Target="../media/image1.emf"/><Relationship Id="rId23" Type="http://schemas.openxmlformats.org/officeDocument/2006/relationships/oleObject" Target="../embeddings/oleObject48.bin"/><Relationship Id="rId10" Type="http://schemas.openxmlformats.org/officeDocument/2006/relationships/tags" Target="../tags/tag49.xml"/><Relationship Id="rId19" Type="http://schemas.openxmlformats.org/officeDocument/2006/relationships/oleObject" Target="../embeddings/oleObject44.bin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oleObject" Target="../embeddings/oleObject40.bin"/><Relationship Id="rId22" Type="http://schemas.openxmlformats.org/officeDocument/2006/relationships/oleObject" Target="../embeddings/oleObject47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slideMaster" Target="../slideMasters/slideMaster2.xml"/><Relationship Id="rId18" Type="http://schemas.openxmlformats.org/officeDocument/2006/relationships/oleObject" Target="../embeddings/oleObject59.bin"/><Relationship Id="rId3" Type="http://schemas.openxmlformats.org/officeDocument/2006/relationships/tags" Target="../tags/tag58.xml"/><Relationship Id="rId21" Type="http://schemas.openxmlformats.org/officeDocument/2006/relationships/oleObject" Target="../embeddings/oleObject62.bin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oleObject" Target="../embeddings/oleObject58.bin"/><Relationship Id="rId25" Type="http://schemas.openxmlformats.org/officeDocument/2006/relationships/oleObject" Target="../embeddings/oleObject66.bin"/><Relationship Id="rId2" Type="http://schemas.openxmlformats.org/officeDocument/2006/relationships/tags" Target="../tags/tag57.xml"/><Relationship Id="rId16" Type="http://schemas.openxmlformats.org/officeDocument/2006/relationships/oleObject" Target="../embeddings/oleObject57.bin"/><Relationship Id="rId20" Type="http://schemas.openxmlformats.org/officeDocument/2006/relationships/oleObject" Target="../embeddings/oleObject61.bin"/><Relationship Id="rId1" Type="http://schemas.openxmlformats.org/officeDocument/2006/relationships/vmlDrawing" Target="../drawings/vmlDrawing26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24" Type="http://schemas.openxmlformats.org/officeDocument/2006/relationships/oleObject" Target="../embeddings/oleObject65.bin"/><Relationship Id="rId5" Type="http://schemas.openxmlformats.org/officeDocument/2006/relationships/tags" Target="../tags/tag60.xml"/><Relationship Id="rId15" Type="http://schemas.openxmlformats.org/officeDocument/2006/relationships/image" Target="../media/image1.emf"/><Relationship Id="rId23" Type="http://schemas.openxmlformats.org/officeDocument/2006/relationships/oleObject" Target="../embeddings/oleObject64.bin"/><Relationship Id="rId10" Type="http://schemas.openxmlformats.org/officeDocument/2006/relationships/tags" Target="../tags/tag65.xml"/><Relationship Id="rId19" Type="http://schemas.openxmlformats.org/officeDocument/2006/relationships/oleObject" Target="../embeddings/oleObject60.bin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oleObject" Target="../embeddings/oleObject56.bin"/><Relationship Id="rId22" Type="http://schemas.openxmlformats.org/officeDocument/2006/relationships/oleObject" Target="../embeddings/oleObject63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slideMaster" Target="../slideMasters/slideMaster1.xml"/><Relationship Id="rId18" Type="http://schemas.openxmlformats.org/officeDocument/2006/relationships/oleObject" Target="../embeddings/oleObject21.bin"/><Relationship Id="rId3" Type="http://schemas.openxmlformats.org/officeDocument/2006/relationships/tags" Target="../tags/tag20.xml"/><Relationship Id="rId21" Type="http://schemas.openxmlformats.org/officeDocument/2006/relationships/oleObject" Target="../embeddings/oleObject24.bin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oleObject" Target="../embeddings/oleObject20.bin"/><Relationship Id="rId25" Type="http://schemas.openxmlformats.org/officeDocument/2006/relationships/oleObject" Target="../embeddings/oleObject28.bin"/><Relationship Id="rId2" Type="http://schemas.openxmlformats.org/officeDocument/2006/relationships/tags" Target="../tags/tag19.xml"/><Relationship Id="rId16" Type="http://schemas.openxmlformats.org/officeDocument/2006/relationships/oleObject" Target="../embeddings/oleObject19.bin"/><Relationship Id="rId20" Type="http://schemas.openxmlformats.org/officeDocument/2006/relationships/oleObject" Target="../embeddings/oleObject23.bin"/><Relationship Id="rId1" Type="http://schemas.openxmlformats.org/officeDocument/2006/relationships/vmlDrawing" Target="../drawings/vmlDrawing8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oleObject" Target="../embeddings/oleObject27.bin"/><Relationship Id="rId5" Type="http://schemas.openxmlformats.org/officeDocument/2006/relationships/tags" Target="../tags/tag22.xml"/><Relationship Id="rId15" Type="http://schemas.openxmlformats.org/officeDocument/2006/relationships/image" Target="../media/image1.emf"/><Relationship Id="rId23" Type="http://schemas.openxmlformats.org/officeDocument/2006/relationships/oleObject" Target="../embeddings/oleObject26.bin"/><Relationship Id="rId10" Type="http://schemas.openxmlformats.org/officeDocument/2006/relationships/tags" Target="../tags/tag27.xml"/><Relationship Id="rId19" Type="http://schemas.openxmlformats.org/officeDocument/2006/relationships/oleObject" Target="../embeddings/oleObject22.bin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oleObject" Target="../embeddings/oleObject18.bin"/><Relationship Id="rId22" Type="http://schemas.openxmlformats.org/officeDocument/2006/relationships/oleObject" Target="../embeddings/oleObject2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E49329ED-88BB-C258-4171-C073E4805052}"/>
              </a:ext>
            </a:extLst>
          </p:cNvPr>
          <p:cNvSpPr/>
          <p:nvPr/>
        </p:nvSpPr>
        <p:spPr>
          <a:xfrm>
            <a:off x="639763" y="411163"/>
            <a:ext cx="10910887" cy="5851525"/>
          </a:xfrm>
          <a:prstGeom prst="roundRect">
            <a:avLst>
              <a:gd name="adj" fmla="val 10750"/>
            </a:avLst>
          </a:prstGeom>
          <a:gradFill>
            <a:gsLst>
              <a:gs pos="0">
                <a:schemeClr val="accent1"/>
              </a:gs>
              <a:gs pos="25000">
                <a:srgbClr val="2E78FF"/>
              </a:gs>
              <a:gs pos="90000">
                <a:srgbClr val="5CC3FF"/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endParaRPr lang="ru-RU" sz="1400" err="1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86" name="Слайд think-cell" r:id="rId14" imgW="233" imgH="233" progId="TCLayout.ActiveDocument.1">
                  <p:embed/>
                </p:oleObj>
              </mc:Choice>
              <mc:Fallback>
                <p:oleObj name="Слайд think-cell" r:id="rId14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4705255"/>
            <a:ext cx="8174332" cy="81756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Напиши подзаголовок презентации, имя спикера </a:t>
            </a:r>
            <a:br>
              <a:rPr lang="ru-RU"/>
            </a:br>
            <a:r>
              <a:rPr lang="ru-RU"/>
              <a:t>и другую дополнительную информацию</a:t>
            </a: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5AD7914A-6F7A-0AB4-0320-8B0610322AB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87" name="Слайд think-cell" r:id="rId16" imgW="233" imgH="233" progId="TCLayout.ActiveDocument.1">
                  <p:embed/>
                </p:oleObj>
              </mc:Choice>
              <mc:Fallback>
                <p:oleObj name="Слайд think-cell" r:id="rId16" imgW="233" imgH="2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5AD7914A-6F7A-0AB4-0320-8B0610322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15B33EE8-2A0C-A289-E633-0C1A78BC22F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88" name="Слайд think-cell" r:id="rId17" imgW="233" imgH="233" progId="TCLayout.ActiveDocument.1">
                  <p:embed/>
                </p:oleObj>
              </mc:Choice>
              <mc:Fallback>
                <p:oleObj name="Слайд think-cell" r:id="rId17" imgW="233" imgH="233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15B33EE8-2A0C-A289-E633-0C1A78BC22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EDB5745A-EB00-381B-6668-493769E30B62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89" name="Слайд think-cell" r:id="rId18" imgW="233" imgH="233" progId="TCLayout.ActiveDocument.1">
                  <p:embed/>
                </p:oleObj>
              </mc:Choice>
              <mc:Fallback>
                <p:oleObj name="Слайд think-cell" r:id="rId18" imgW="233" imgH="233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EDB5745A-EB00-381B-6668-493769E30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1A29F7CF-5EA7-385D-A6B8-3F74846ECFA0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90" name="Слайд think-cell" r:id="rId19" imgW="233" imgH="233" progId="TCLayout.ActiveDocument.1">
                  <p:embed/>
                </p:oleObj>
              </mc:Choice>
              <mc:Fallback>
                <p:oleObj name="Слайд think-cell" r:id="rId19" imgW="233" imgH="233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1A29F7CF-5EA7-385D-A6B8-3F74846EC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69EB17E6-0D76-E72E-817B-D0C2F75924C4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91" name="Слайд think-cell" r:id="rId20" imgW="233" imgH="233" progId="TCLayout.ActiveDocument.1">
                  <p:embed/>
                </p:oleObj>
              </mc:Choice>
              <mc:Fallback>
                <p:oleObj name="Слайд think-cell" r:id="rId20" imgW="233" imgH="23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id="{69EB17E6-0D76-E72E-817B-D0C2F7592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E0D4A2C-56C5-17DB-0E5E-7516F66FD0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6718" y="2152745"/>
            <a:ext cx="8206245" cy="2277549"/>
          </a:xfrm>
        </p:spPr>
        <p:txBody>
          <a:bodyPr vert="horz" anchor="b">
            <a:noAutofit/>
          </a:bodyPr>
          <a:lstStyle>
            <a:lvl1pPr algn="l">
              <a:lnSpc>
                <a:spcPct val="90000"/>
              </a:lnSpc>
              <a:defRPr sz="4800" spc="-50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Напиши смысловой заголовок презентации </a:t>
            </a:r>
            <a:br>
              <a:rPr lang="ru-RU"/>
            </a:br>
            <a:r>
              <a:rPr lang="ru-RU"/>
              <a:t>в 2–3 строки</a:t>
            </a:r>
          </a:p>
        </p:txBody>
      </p:sp>
      <p:sp>
        <p:nvSpPr>
          <p:cNvPr id="10" name="Рисунок 7">
            <a:extLst>
              <a:ext uri="{FF2B5EF4-FFF2-40B4-BE49-F238E27FC236}">
                <a16:creationId xmlns:a16="http://schemas.microsoft.com/office/drawing/2014/main" id="{D37AAFC2-18B9-4946-F395-9A07F4ACD777}"/>
              </a:ext>
            </a:extLst>
          </p:cNvPr>
          <p:cNvSpPr/>
          <p:nvPr/>
        </p:nvSpPr>
        <p:spPr>
          <a:xfrm>
            <a:off x="1541812" y="1009909"/>
            <a:ext cx="1165502" cy="252000"/>
          </a:xfrm>
          <a:custGeom>
            <a:avLst/>
            <a:gdLst>
              <a:gd name="connsiteX0" fmla="*/ 126737 w 1165502"/>
              <a:gd name="connsiteY0" fmla="*/ 0 h 252000"/>
              <a:gd name="connsiteX1" fmla="*/ 0 w 1165502"/>
              <a:gd name="connsiteY1" fmla="*/ 126000 h 252000"/>
              <a:gd name="connsiteX2" fmla="*/ 126737 w 1165502"/>
              <a:gd name="connsiteY2" fmla="*/ 252000 h 252000"/>
              <a:gd name="connsiteX3" fmla="*/ 253475 w 1165502"/>
              <a:gd name="connsiteY3" fmla="*/ 126000 h 252000"/>
              <a:gd name="connsiteX4" fmla="*/ 126737 w 1165502"/>
              <a:gd name="connsiteY4" fmla="*/ 0 h 252000"/>
              <a:gd name="connsiteX5" fmla="*/ 126737 w 1165502"/>
              <a:gd name="connsiteY5" fmla="*/ 193785 h 252000"/>
              <a:gd name="connsiteX6" fmla="*/ 58556 w 1165502"/>
              <a:gd name="connsiteY6" fmla="*/ 126000 h 252000"/>
              <a:gd name="connsiteX7" fmla="*/ 126737 w 1165502"/>
              <a:gd name="connsiteY7" fmla="*/ 58215 h 252000"/>
              <a:gd name="connsiteX8" fmla="*/ 194918 w 1165502"/>
              <a:gd name="connsiteY8" fmla="*/ 126000 h 252000"/>
              <a:gd name="connsiteX9" fmla="*/ 126737 w 1165502"/>
              <a:gd name="connsiteY9" fmla="*/ 193785 h 252000"/>
              <a:gd name="connsiteX10" fmla="*/ 711493 w 1165502"/>
              <a:gd name="connsiteY10" fmla="*/ 0 h 252000"/>
              <a:gd name="connsiteX11" fmla="*/ 533420 w 1165502"/>
              <a:gd name="connsiteY11" fmla="*/ 126000 h 252000"/>
              <a:gd name="connsiteX12" fmla="*/ 711493 w 1165502"/>
              <a:gd name="connsiteY12" fmla="*/ 252000 h 252000"/>
              <a:gd name="connsiteX13" fmla="*/ 889569 w 1165502"/>
              <a:gd name="connsiteY13" fmla="*/ 126000 h 252000"/>
              <a:gd name="connsiteX14" fmla="*/ 711493 w 1165502"/>
              <a:gd name="connsiteY14" fmla="*/ 0 h 252000"/>
              <a:gd name="connsiteX15" fmla="*/ 711493 w 1165502"/>
              <a:gd name="connsiteY15" fmla="*/ 193785 h 252000"/>
              <a:gd name="connsiteX16" fmla="*/ 592778 w 1165502"/>
              <a:gd name="connsiteY16" fmla="*/ 126798 h 252000"/>
              <a:gd name="connsiteX17" fmla="*/ 711493 w 1165502"/>
              <a:gd name="connsiteY17" fmla="*/ 59810 h 252000"/>
              <a:gd name="connsiteX18" fmla="*/ 830208 w 1165502"/>
              <a:gd name="connsiteY18" fmla="*/ 126798 h 252000"/>
              <a:gd name="connsiteX19" fmla="*/ 711493 w 1165502"/>
              <a:gd name="connsiteY19" fmla="*/ 193785 h 252000"/>
              <a:gd name="connsiteX20" fmla="*/ 1135821 w 1165502"/>
              <a:gd name="connsiteY20" fmla="*/ 5582 h 252000"/>
              <a:gd name="connsiteX21" fmla="*/ 1106140 w 1165502"/>
              <a:gd name="connsiteY21" fmla="*/ 35089 h 252000"/>
              <a:gd name="connsiteX22" fmla="*/ 1106140 w 1165502"/>
              <a:gd name="connsiteY22" fmla="*/ 133975 h 252000"/>
              <a:gd name="connsiteX23" fmla="*/ 945718 w 1165502"/>
              <a:gd name="connsiteY23" fmla="*/ 7177 h 252000"/>
              <a:gd name="connsiteX24" fmla="*/ 932079 w 1165502"/>
              <a:gd name="connsiteY24" fmla="*/ 13557 h 252000"/>
              <a:gd name="connsiteX25" fmla="*/ 932079 w 1165502"/>
              <a:gd name="connsiteY25" fmla="*/ 216911 h 252000"/>
              <a:gd name="connsiteX26" fmla="*/ 961760 w 1165502"/>
              <a:gd name="connsiteY26" fmla="*/ 246417 h 252000"/>
              <a:gd name="connsiteX27" fmla="*/ 991441 w 1165502"/>
              <a:gd name="connsiteY27" fmla="*/ 216911 h 252000"/>
              <a:gd name="connsiteX28" fmla="*/ 991441 w 1165502"/>
              <a:gd name="connsiteY28" fmla="*/ 118823 h 252000"/>
              <a:gd name="connsiteX29" fmla="*/ 1151863 w 1165502"/>
              <a:gd name="connsiteY29" fmla="*/ 245620 h 252000"/>
              <a:gd name="connsiteX30" fmla="*/ 1165502 w 1165502"/>
              <a:gd name="connsiteY30" fmla="*/ 239240 h 252000"/>
              <a:gd name="connsiteX31" fmla="*/ 1165502 w 1165502"/>
              <a:gd name="connsiteY31" fmla="*/ 35089 h 252000"/>
              <a:gd name="connsiteX32" fmla="*/ 1135821 w 1165502"/>
              <a:gd name="connsiteY32" fmla="*/ 5582 h 252000"/>
              <a:gd name="connsiteX33" fmla="*/ 486896 w 1165502"/>
              <a:gd name="connsiteY33" fmla="*/ 188202 h 252000"/>
              <a:gd name="connsiteX34" fmla="*/ 385827 w 1165502"/>
              <a:gd name="connsiteY34" fmla="*/ 188202 h 252000"/>
              <a:gd name="connsiteX35" fmla="*/ 514168 w 1165502"/>
              <a:gd name="connsiteY35" fmla="*/ 19139 h 252000"/>
              <a:gd name="connsiteX36" fmla="*/ 507752 w 1165502"/>
              <a:gd name="connsiteY36" fmla="*/ 5582 h 252000"/>
              <a:gd name="connsiteX37" fmla="*/ 321656 w 1165502"/>
              <a:gd name="connsiteY37" fmla="*/ 5582 h 252000"/>
              <a:gd name="connsiteX38" fmla="*/ 291977 w 1165502"/>
              <a:gd name="connsiteY38" fmla="*/ 35089 h 252000"/>
              <a:gd name="connsiteX39" fmla="*/ 321656 w 1165502"/>
              <a:gd name="connsiteY39" fmla="*/ 64595 h 252000"/>
              <a:gd name="connsiteX40" fmla="*/ 405881 w 1165502"/>
              <a:gd name="connsiteY40" fmla="*/ 64595 h 252000"/>
              <a:gd name="connsiteX41" fmla="*/ 276737 w 1165502"/>
              <a:gd name="connsiteY41" fmla="*/ 233658 h 252000"/>
              <a:gd name="connsiteX42" fmla="*/ 283956 w 1165502"/>
              <a:gd name="connsiteY42" fmla="*/ 247215 h 252000"/>
              <a:gd name="connsiteX43" fmla="*/ 486896 w 1165502"/>
              <a:gd name="connsiteY43" fmla="*/ 247215 h 252000"/>
              <a:gd name="connsiteX44" fmla="*/ 516575 w 1165502"/>
              <a:gd name="connsiteY44" fmla="*/ 217709 h 252000"/>
              <a:gd name="connsiteX45" fmla="*/ 486896 w 1165502"/>
              <a:gd name="connsiteY45" fmla="*/ 188202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165502" h="252000">
                <a:moveTo>
                  <a:pt x="126737" y="0"/>
                </a:moveTo>
                <a:cubicBezTo>
                  <a:pt x="56952" y="0"/>
                  <a:pt x="0" y="56620"/>
                  <a:pt x="0" y="126000"/>
                </a:cubicBezTo>
                <a:cubicBezTo>
                  <a:pt x="0" y="195380"/>
                  <a:pt x="56952" y="252000"/>
                  <a:pt x="126737" y="252000"/>
                </a:cubicBezTo>
                <a:cubicBezTo>
                  <a:pt x="197325" y="252000"/>
                  <a:pt x="253475" y="195380"/>
                  <a:pt x="253475" y="126000"/>
                </a:cubicBezTo>
                <a:cubicBezTo>
                  <a:pt x="253475" y="56620"/>
                  <a:pt x="197325" y="0"/>
                  <a:pt x="126737" y="0"/>
                </a:cubicBezTo>
                <a:close/>
                <a:moveTo>
                  <a:pt x="126737" y="193785"/>
                </a:moveTo>
                <a:cubicBezTo>
                  <a:pt x="89037" y="193785"/>
                  <a:pt x="58556" y="163481"/>
                  <a:pt x="58556" y="126000"/>
                </a:cubicBezTo>
                <a:cubicBezTo>
                  <a:pt x="58556" y="88519"/>
                  <a:pt x="89037" y="58215"/>
                  <a:pt x="126737" y="58215"/>
                </a:cubicBezTo>
                <a:cubicBezTo>
                  <a:pt x="164437" y="58215"/>
                  <a:pt x="194918" y="88519"/>
                  <a:pt x="194918" y="126000"/>
                </a:cubicBezTo>
                <a:cubicBezTo>
                  <a:pt x="194918" y="163481"/>
                  <a:pt x="164437" y="193785"/>
                  <a:pt x="126737" y="193785"/>
                </a:cubicBezTo>
                <a:close/>
                <a:moveTo>
                  <a:pt x="711493" y="0"/>
                </a:moveTo>
                <a:cubicBezTo>
                  <a:pt x="612831" y="0"/>
                  <a:pt x="533420" y="56620"/>
                  <a:pt x="533420" y="126000"/>
                </a:cubicBezTo>
                <a:cubicBezTo>
                  <a:pt x="533420" y="195380"/>
                  <a:pt x="612831" y="252000"/>
                  <a:pt x="711493" y="252000"/>
                </a:cubicBezTo>
                <a:cubicBezTo>
                  <a:pt x="810158" y="252000"/>
                  <a:pt x="889569" y="195380"/>
                  <a:pt x="889569" y="126000"/>
                </a:cubicBezTo>
                <a:cubicBezTo>
                  <a:pt x="889569" y="56620"/>
                  <a:pt x="809355" y="0"/>
                  <a:pt x="711493" y="0"/>
                </a:cubicBezTo>
                <a:close/>
                <a:moveTo>
                  <a:pt x="711493" y="193785"/>
                </a:moveTo>
                <a:cubicBezTo>
                  <a:pt x="643312" y="193785"/>
                  <a:pt x="592778" y="157898"/>
                  <a:pt x="592778" y="126798"/>
                </a:cubicBezTo>
                <a:cubicBezTo>
                  <a:pt x="592778" y="95696"/>
                  <a:pt x="643312" y="59810"/>
                  <a:pt x="711493" y="59810"/>
                </a:cubicBezTo>
                <a:cubicBezTo>
                  <a:pt x="779675" y="59810"/>
                  <a:pt x="830208" y="95696"/>
                  <a:pt x="830208" y="126798"/>
                </a:cubicBezTo>
                <a:cubicBezTo>
                  <a:pt x="830208" y="157898"/>
                  <a:pt x="778873" y="193785"/>
                  <a:pt x="711493" y="193785"/>
                </a:cubicBezTo>
                <a:close/>
                <a:moveTo>
                  <a:pt x="1135821" y="5582"/>
                </a:moveTo>
                <a:cubicBezTo>
                  <a:pt x="1119780" y="5582"/>
                  <a:pt x="1106140" y="19139"/>
                  <a:pt x="1106140" y="35089"/>
                </a:cubicBezTo>
                <a:lnTo>
                  <a:pt x="1106140" y="133975"/>
                </a:lnTo>
                <a:lnTo>
                  <a:pt x="945718" y="7177"/>
                </a:lnTo>
                <a:cubicBezTo>
                  <a:pt x="940103" y="2392"/>
                  <a:pt x="932079" y="6380"/>
                  <a:pt x="932079" y="13557"/>
                </a:cubicBezTo>
                <a:lnTo>
                  <a:pt x="932079" y="216911"/>
                </a:lnTo>
                <a:cubicBezTo>
                  <a:pt x="932079" y="232861"/>
                  <a:pt x="945718" y="246417"/>
                  <a:pt x="961760" y="246417"/>
                </a:cubicBezTo>
                <a:cubicBezTo>
                  <a:pt x="977801" y="246417"/>
                  <a:pt x="991441" y="232861"/>
                  <a:pt x="991441" y="216911"/>
                </a:cubicBezTo>
                <a:lnTo>
                  <a:pt x="991441" y="118823"/>
                </a:lnTo>
                <a:lnTo>
                  <a:pt x="1151863" y="245620"/>
                </a:lnTo>
                <a:cubicBezTo>
                  <a:pt x="1157477" y="250405"/>
                  <a:pt x="1165502" y="246417"/>
                  <a:pt x="1165502" y="239240"/>
                </a:cubicBezTo>
                <a:lnTo>
                  <a:pt x="1165502" y="35089"/>
                </a:lnTo>
                <a:cubicBezTo>
                  <a:pt x="1165502" y="19139"/>
                  <a:pt x="1151863" y="5582"/>
                  <a:pt x="1135821" y="5582"/>
                </a:cubicBezTo>
                <a:close/>
                <a:moveTo>
                  <a:pt x="486896" y="188202"/>
                </a:moveTo>
                <a:lnTo>
                  <a:pt x="385827" y="188202"/>
                </a:lnTo>
                <a:lnTo>
                  <a:pt x="514168" y="19139"/>
                </a:lnTo>
                <a:cubicBezTo>
                  <a:pt x="518179" y="13557"/>
                  <a:pt x="514168" y="5582"/>
                  <a:pt x="507752" y="5582"/>
                </a:cubicBezTo>
                <a:lnTo>
                  <a:pt x="321656" y="5582"/>
                </a:lnTo>
                <a:cubicBezTo>
                  <a:pt x="305614" y="5582"/>
                  <a:pt x="291977" y="19139"/>
                  <a:pt x="291977" y="35089"/>
                </a:cubicBezTo>
                <a:cubicBezTo>
                  <a:pt x="291977" y="51038"/>
                  <a:pt x="305614" y="64595"/>
                  <a:pt x="321656" y="64595"/>
                </a:cubicBezTo>
                <a:lnTo>
                  <a:pt x="405881" y="64595"/>
                </a:lnTo>
                <a:lnTo>
                  <a:pt x="276737" y="233658"/>
                </a:lnTo>
                <a:cubicBezTo>
                  <a:pt x="272726" y="239240"/>
                  <a:pt x="276737" y="247215"/>
                  <a:pt x="283956" y="247215"/>
                </a:cubicBezTo>
                <a:lnTo>
                  <a:pt x="486896" y="247215"/>
                </a:lnTo>
                <a:cubicBezTo>
                  <a:pt x="502939" y="247215"/>
                  <a:pt x="516575" y="233658"/>
                  <a:pt x="516575" y="217709"/>
                </a:cubicBezTo>
                <a:cubicBezTo>
                  <a:pt x="516575" y="201760"/>
                  <a:pt x="502939" y="188202"/>
                  <a:pt x="486896" y="188202"/>
                </a:cubicBezTo>
                <a:close/>
              </a:path>
            </a:pathLst>
          </a:custGeom>
          <a:solidFill>
            <a:schemeClr val="bg1"/>
          </a:solidFill>
          <a:ln w="785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1D77E8B5-7B50-6479-7248-130A739ECA38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92" name="Слайд think-cell" r:id="rId21" imgW="233" imgH="233" progId="TCLayout.ActiveDocument.1">
                  <p:embed/>
                </p:oleObj>
              </mc:Choice>
              <mc:Fallback>
                <p:oleObj name="Слайд think-cell" r:id="rId21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1D77E8B5-7B50-6479-7248-130A739ECA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4E5DA3C2-0A7F-674E-A5B0-30B7E3A95F0E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93" name="Слайд think-cell" r:id="rId22" imgW="233" imgH="233" progId="TCLayout.ActiveDocument.1">
                  <p:embed/>
                </p:oleObj>
              </mc:Choice>
              <mc:Fallback>
                <p:oleObj name="Слайд think-cell" r:id="rId22" imgW="233" imgH="233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4E5DA3C2-0A7F-674E-A5B0-30B7E3A95F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6F240980-E205-E34B-560B-418ADE4D2190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94" name="Слайд think-cell" r:id="rId23" imgW="233" imgH="233" progId="TCLayout.ActiveDocument.1">
                  <p:embed/>
                </p:oleObj>
              </mc:Choice>
              <mc:Fallback>
                <p:oleObj name="Слайд think-cell" r:id="rId23" imgW="233" imgH="233" progId="TCLayout.ActiveDocument.1">
                  <p:embed/>
                  <p:pic>
                    <p:nvPicPr>
                      <p:cNvPr id="11" name="Объект 10" hidden="1">
                        <a:extLst>
                          <a:ext uri="{FF2B5EF4-FFF2-40B4-BE49-F238E27FC236}">
                            <a16:creationId xmlns:a16="http://schemas.microsoft.com/office/drawing/2014/main" id="{6F240980-E205-E34B-560B-418ADE4D21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Объект 12" hidden="1">
            <a:extLst>
              <a:ext uri="{FF2B5EF4-FFF2-40B4-BE49-F238E27FC236}">
                <a16:creationId xmlns:a16="http://schemas.microsoft.com/office/drawing/2014/main" id="{AE319448-558B-6C3F-A87B-6F88A75AA87B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95" name="Слайд think-cell" r:id="rId24" imgW="233" imgH="233" progId="TCLayout.ActiveDocument.1">
                  <p:embed/>
                </p:oleObj>
              </mc:Choice>
              <mc:Fallback>
                <p:oleObj name="Слайд think-cell" r:id="rId24" imgW="233" imgH="233" progId="TCLayout.ActiveDocument.1">
                  <p:embed/>
                  <p:pic>
                    <p:nvPicPr>
                      <p:cNvPr id="13" name="Объект 12" hidden="1">
                        <a:extLst>
                          <a:ext uri="{FF2B5EF4-FFF2-40B4-BE49-F238E27FC236}">
                            <a16:creationId xmlns:a16="http://schemas.microsoft.com/office/drawing/2014/main" id="{AE319448-558B-6C3F-A87B-6F88A75AA8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4AA46163-C0B9-4B45-7146-A7012B609A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96" name="Слайд think-cell" r:id="rId25" imgW="233" imgH="233" progId="TCLayout.ActiveDocument.1">
                  <p:embed/>
                </p:oleObj>
              </mc:Choice>
              <mc:Fallback>
                <p:oleObj name="Слайд think-cell" r:id="rId25" imgW="233" imgH="233" progId="TCLayout.ActiveDocument.1">
                  <p:embed/>
                  <p:pic>
                    <p:nvPicPr>
                      <p:cNvPr id="14" name="Объект 13" hidden="1">
                        <a:extLst>
                          <a:ext uri="{FF2B5EF4-FFF2-40B4-BE49-F238E27FC236}">
                            <a16:creationId xmlns:a16="http://schemas.microsoft.com/office/drawing/2014/main" id="{4AA46163-C0B9-4B45-7146-A7012B609A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65084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4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4692F5B7-B90A-C91A-2047-FDFD8FC7FE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49399" y="6465021"/>
            <a:ext cx="8182800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E7388FD-D149-4D25-0D53-8FD572183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7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</a:t>
            </a:r>
            <a:br>
              <a:rPr lang="ru-RU"/>
            </a:br>
            <a:r>
              <a:rPr lang="ru-RU"/>
              <a:t>слайда в 1–2 строки</a:t>
            </a:r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7993614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F67C59A3-D429-7B31-A5B0-0D1EFC446FA3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26561D24-BBBB-253A-7A51-A96C57F40E5B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A2B8DFB7-79B0-0439-C360-6941BF32E4D7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9298A01-26D5-77F0-1B44-28C8BBA32B5A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21EA26B0-23BA-7A00-892D-A1F326878E52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A5D3FC7E-9D3D-EB60-5F4A-AB0976EFEC60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E6DA982A-4819-86A4-B3E3-3820BE19C0E0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5" name="Прямоугольник: скругленные углы 44">
              <a:extLst>
                <a:ext uri="{FF2B5EF4-FFF2-40B4-BE49-F238E27FC236}">
                  <a16:creationId xmlns:a16="http://schemas.microsoft.com/office/drawing/2014/main" id="{682E6276-38E4-B43E-1997-1EB72EA2A914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068336B-339F-1776-3C0F-78C717AA59C8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8" name="Прямоугольник: скругленные углы 47">
              <a:extLst>
                <a:ext uri="{FF2B5EF4-FFF2-40B4-BE49-F238E27FC236}">
                  <a16:creationId xmlns:a16="http://schemas.microsoft.com/office/drawing/2014/main" id="{FE2D34FD-CFD5-F181-5F8D-99FE8F6B9336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48ABCE10-7A7F-1324-4D1D-7AD10D1042B1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FA92F67-A433-8731-5914-B14989A94311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52" name="Прямоугольник: скругленные углы 51">
              <a:extLst>
                <a:ext uri="{FF2B5EF4-FFF2-40B4-BE49-F238E27FC236}">
                  <a16:creationId xmlns:a16="http://schemas.microsoft.com/office/drawing/2014/main" id="{4C7A1397-7A11-591D-AA68-55A9039699E9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02E7F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504D71D0-6847-ADE8-467F-77206D5DE761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AB17545C-2653-11B9-6AAD-F2414CA88813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1D454EF4-1099-5940-A5D4-5F82D3172AE1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AB6D7EE-DAF5-E7EF-6D1E-0891469BD32B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64568EE7-F81D-84C3-5AE6-8B77C2134C94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0BC0B63B-AFDA-54FE-3829-EC8AA6CFBAEB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2FE7B29-A123-EF1E-09DB-12AADC874FA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60" name="Рисунок 93">
              <a:extLst>
                <a:ext uri="{FF2B5EF4-FFF2-40B4-BE49-F238E27FC236}">
                  <a16:creationId xmlns:a16="http://schemas.microsoft.com/office/drawing/2014/main" id="{AA53B632-DD94-4453-746B-3AC3CCA27D0B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DE6F264-2180-A77B-E487-478DC7F970C2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2B9BFCAF-86CA-1244-E85A-F30E4AC766F2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64">
              <a:extLst>
                <a:ext uri="{FF2B5EF4-FFF2-40B4-BE49-F238E27FC236}">
                  <a16:creationId xmlns:a16="http://schemas.microsoft.com/office/drawing/2014/main" id="{860A63BB-781E-AEA8-4E5D-D35214A49880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65">
              <a:extLst>
                <a:ext uri="{FF2B5EF4-FFF2-40B4-BE49-F238E27FC236}">
                  <a16:creationId xmlns:a16="http://schemas.microsoft.com/office/drawing/2014/main" id="{09CABE96-EC03-3157-B363-C0896B3891CC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рямоугольник: скругленные углы 13">
              <a:extLst>
                <a:ext uri="{FF2B5EF4-FFF2-40B4-BE49-F238E27FC236}">
                  <a16:creationId xmlns:a16="http://schemas.microsoft.com/office/drawing/2014/main" id="{10235599-9C22-810F-AFFE-43B3719F8049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BCCB48D8-60A8-9E17-D2F8-C11A8EA8C284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5" name="Рисунок 1">
            <a:extLst>
              <a:ext uri="{FF2B5EF4-FFF2-40B4-BE49-F238E27FC236}">
                <a16:creationId xmlns:a16="http://schemas.microsoft.com/office/drawing/2014/main" id="{1C743A56-B719-FC87-1BB6-6AF569C82D9B}"/>
              </a:ext>
            </a:extLst>
          </p:cNvPr>
          <p:cNvSpPr/>
          <p:nvPr userDrawn="1"/>
        </p:nvSpPr>
        <p:spPr>
          <a:xfrm>
            <a:off x="640541" y="6472839"/>
            <a:ext cx="596000" cy="128865"/>
          </a:xfrm>
          <a:custGeom>
            <a:avLst/>
            <a:gdLst>
              <a:gd name="connsiteX0" fmla="*/ 64809 w 596000"/>
              <a:gd name="connsiteY0" fmla="*/ 0 h 128865"/>
              <a:gd name="connsiteX1" fmla="*/ 0 w 596000"/>
              <a:gd name="connsiteY1" fmla="*/ 64433 h 128865"/>
              <a:gd name="connsiteX2" fmla="*/ 64809 w 596000"/>
              <a:gd name="connsiteY2" fmla="*/ 128865 h 128865"/>
              <a:gd name="connsiteX3" fmla="*/ 129619 w 596000"/>
              <a:gd name="connsiteY3" fmla="*/ 64433 h 128865"/>
              <a:gd name="connsiteX4" fmla="*/ 64809 w 596000"/>
              <a:gd name="connsiteY4" fmla="*/ 0 h 128865"/>
              <a:gd name="connsiteX5" fmla="*/ 64809 w 596000"/>
              <a:gd name="connsiteY5" fmla="*/ 99096 h 128865"/>
              <a:gd name="connsiteX6" fmla="*/ 29944 w 596000"/>
              <a:gd name="connsiteY6" fmla="*/ 64433 h 128865"/>
              <a:gd name="connsiteX7" fmla="*/ 64809 w 596000"/>
              <a:gd name="connsiteY7" fmla="*/ 29769 h 128865"/>
              <a:gd name="connsiteX8" fmla="*/ 99675 w 596000"/>
              <a:gd name="connsiteY8" fmla="*/ 64433 h 128865"/>
              <a:gd name="connsiteX9" fmla="*/ 64809 w 596000"/>
              <a:gd name="connsiteY9" fmla="*/ 99096 h 128865"/>
              <a:gd name="connsiteX10" fmla="*/ 363835 w 596000"/>
              <a:gd name="connsiteY10" fmla="*/ 0 h 128865"/>
              <a:gd name="connsiteX11" fmla="*/ 272774 w 596000"/>
              <a:gd name="connsiteY11" fmla="*/ 64433 h 128865"/>
              <a:gd name="connsiteX12" fmla="*/ 363835 w 596000"/>
              <a:gd name="connsiteY12" fmla="*/ 128865 h 128865"/>
              <a:gd name="connsiteX13" fmla="*/ 454897 w 596000"/>
              <a:gd name="connsiteY13" fmla="*/ 64433 h 128865"/>
              <a:gd name="connsiteX14" fmla="*/ 363835 w 596000"/>
              <a:gd name="connsiteY14" fmla="*/ 0 h 128865"/>
              <a:gd name="connsiteX15" fmla="*/ 363835 w 596000"/>
              <a:gd name="connsiteY15" fmla="*/ 99096 h 128865"/>
              <a:gd name="connsiteX16" fmla="*/ 303127 w 596000"/>
              <a:gd name="connsiteY16" fmla="*/ 64840 h 128865"/>
              <a:gd name="connsiteX17" fmla="*/ 363835 w 596000"/>
              <a:gd name="connsiteY17" fmla="*/ 30585 h 128865"/>
              <a:gd name="connsiteX18" fmla="*/ 424541 w 596000"/>
              <a:gd name="connsiteY18" fmla="*/ 64840 h 128865"/>
              <a:gd name="connsiteX19" fmla="*/ 363835 w 596000"/>
              <a:gd name="connsiteY19" fmla="*/ 99096 h 128865"/>
              <a:gd name="connsiteX20" fmla="*/ 580822 w 596000"/>
              <a:gd name="connsiteY20" fmla="*/ 2855 h 128865"/>
              <a:gd name="connsiteX21" fmla="*/ 565644 w 596000"/>
              <a:gd name="connsiteY21" fmla="*/ 17943 h 128865"/>
              <a:gd name="connsiteX22" fmla="*/ 565644 w 596000"/>
              <a:gd name="connsiteY22" fmla="*/ 68511 h 128865"/>
              <a:gd name="connsiteX23" fmla="*/ 483610 w 596000"/>
              <a:gd name="connsiteY23" fmla="*/ 3670 h 128865"/>
              <a:gd name="connsiteX24" fmla="*/ 476635 w 596000"/>
              <a:gd name="connsiteY24" fmla="*/ 6933 h 128865"/>
              <a:gd name="connsiteX25" fmla="*/ 476635 w 596000"/>
              <a:gd name="connsiteY25" fmla="*/ 110922 h 128865"/>
              <a:gd name="connsiteX26" fmla="*/ 491813 w 596000"/>
              <a:gd name="connsiteY26" fmla="*/ 126010 h 128865"/>
              <a:gd name="connsiteX27" fmla="*/ 506991 w 596000"/>
              <a:gd name="connsiteY27" fmla="*/ 110922 h 128865"/>
              <a:gd name="connsiteX28" fmla="*/ 506991 w 596000"/>
              <a:gd name="connsiteY28" fmla="*/ 60762 h 128865"/>
              <a:gd name="connsiteX29" fmla="*/ 589025 w 596000"/>
              <a:gd name="connsiteY29" fmla="*/ 125603 h 128865"/>
              <a:gd name="connsiteX30" fmla="*/ 596000 w 596000"/>
              <a:gd name="connsiteY30" fmla="*/ 122340 h 128865"/>
              <a:gd name="connsiteX31" fmla="*/ 596000 w 596000"/>
              <a:gd name="connsiteY31" fmla="*/ 17943 h 128865"/>
              <a:gd name="connsiteX32" fmla="*/ 580822 w 596000"/>
              <a:gd name="connsiteY32" fmla="*/ 2855 h 128865"/>
              <a:gd name="connsiteX33" fmla="*/ 248983 w 596000"/>
              <a:gd name="connsiteY33" fmla="*/ 96241 h 128865"/>
              <a:gd name="connsiteX34" fmla="*/ 197299 w 596000"/>
              <a:gd name="connsiteY34" fmla="*/ 96241 h 128865"/>
              <a:gd name="connsiteX35" fmla="*/ 262929 w 596000"/>
              <a:gd name="connsiteY35" fmla="*/ 9787 h 128865"/>
              <a:gd name="connsiteX36" fmla="*/ 259648 w 596000"/>
              <a:gd name="connsiteY36" fmla="*/ 2855 h 128865"/>
              <a:gd name="connsiteX37" fmla="*/ 164484 w 596000"/>
              <a:gd name="connsiteY37" fmla="*/ 2855 h 128865"/>
              <a:gd name="connsiteX38" fmla="*/ 149308 w 596000"/>
              <a:gd name="connsiteY38" fmla="*/ 17943 h 128865"/>
              <a:gd name="connsiteX39" fmla="*/ 164484 w 596000"/>
              <a:gd name="connsiteY39" fmla="*/ 33032 h 128865"/>
              <a:gd name="connsiteX40" fmla="*/ 207554 w 596000"/>
              <a:gd name="connsiteY40" fmla="*/ 33032 h 128865"/>
              <a:gd name="connsiteX41" fmla="*/ 141514 w 596000"/>
              <a:gd name="connsiteY41" fmla="*/ 119486 h 128865"/>
              <a:gd name="connsiteX42" fmla="*/ 145206 w 596000"/>
              <a:gd name="connsiteY42" fmla="*/ 126418 h 128865"/>
              <a:gd name="connsiteX43" fmla="*/ 248983 w 596000"/>
              <a:gd name="connsiteY43" fmla="*/ 126418 h 128865"/>
              <a:gd name="connsiteX44" fmla="*/ 264160 w 596000"/>
              <a:gd name="connsiteY44" fmla="*/ 111330 h 128865"/>
              <a:gd name="connsiteX45" fmla="*/ 248983 w 596000"/>
              <a:gd name="connsiteY45" fmla="*/ 96241 h 128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96000" h="128865">
                <a:moveTo>
                  <a:pt x="64809" y="0"/>
                </a:moveTo>
                <a:cubicBezTo>
                  <a:pt x="29123" y="0"/>
                  <a:pt x="0" y="28954"/>
                  <a:pt x="0" y="64433"/>
                </a:cubicBezTo>
                <a:cubicBezTo>
                  <a:pt x="0" y="99911"/>
                  <a:pt x="29123" y="128865"/>
                  <a:pt x="64809" y="128865"/>
                </a:cubicBezTo>
                <a:cubicBezTo>
                  <a:pt x="100906" y="128865"/>
                  <a:pt x="129619" y="99911"/>
                  <a:pt x="129619" y="64433"/>
                </a:cubicBezTo>
                <a:cubicBezTo>
                  <a:pt x="129619" y="28954"/>
                  <a:pt x="100906" y="0"/>
                  <a:pt x="64809" y="0"/>
                </a:cubicBezTo>
                <a:close/>
                <a:moveTo>
                  <a:pt x="64809" y="99096"/>
                </a:moveTo>
                <a:cubicBezTo>
                  <a:pt x="45531" y="99096"/>
                  <a:pt x="29944" y="83599"/>
                  <a:pt x="29944" y="64433"/>
                </a:cubicBezTo>
                <a:cubicBezTo>
                  <a:pt x="29944" y="45266"/>
                  <a:pt x="45531" y="29769"/>
                  <a:pt x="64809" y="29769"/>
                </a:cubicBezTo>
                <a:cubicBezTo>
                  <a:pt x="84088" y="29769"/>
                  <a:pt x="99675" y="45266"/>
                  <a:pt x="99675" y="64433"/>
                </a:cubicBezTo>
                <a:cubicBezTo>
                  <a:pt x="99675" y="83599"/>
                  <a:pt x="84088" y="99096"/>
                  <a:pt x="64809" y="99096"/>
                </a:cubicBezTo>
                <a:close/>
                <a:moveTo>
                  <a:pt x="363835" y="0"/>
                </a:moveTo>
                <a:cubicBezTo>
                  <a:pt x="313382" y="0"/>
                  <a:pt x="272774" y="28954"/>
                  <a:pt x="272774" y="64433"/>
                </a:cubicBezTo>
                <a:cubicBezTo>
                  <a:pt x="272774" y="99911"/>
                  <a:pt x="313382" y="128865"/>
                  <a:pt x="363835" y="128865"/>
                </a:cubicBezTo>
                <a:cubicBezTo>
                  <a:pt x="414288" y="128865"/>
                  <a:pt x="454897" y="99911"/>
                  <a:pt x="454897" y="64433"/>
                </a:cubicBezTo>
                <a:cubicBezTo>
                  <a:pt x="454897" y="28954"/>
                  <a:pt x="413878" y="0"/>
                  <a:pt x="363835" y="0"/>
                </a:cubicBezTo>
                <a:close/>
                <a:moveTo>
                  <a:pt x="363835" y="99096"/>
                </a:moveTo>
                <a:cubicBezTo>
                  <a:pt x="328969" y="99096"/>
                  <a:pt x="303127" y="80744"/>
                  <a:pt x="303127" y="64840"/>
                </a:cubicBezTo>
                <a:cubicBezTo>
                  <a:pt x="303127" y="48936"/>
                  <a:pt x="328969" y="30585"/>
                  <a:pt x="363835" y="30585"/>
                </a:cubicBezTo>
                <a:cubicBezTo>
                  <a:pt x="398701" y="30585"/>
                  <a:pt x="424541" y="48936"/>
                  <a:pt x="424541" y="64840"/>
                </a:cubicBezTo>
                <a:cubicBezTo>
                  <a:pt x="424541" y="80744"/>
                  <a:pt x="398290" y="99096"/>
                  <a:pt x="363835" y="99096"/>
                </a:cubicBezTo>
                <a:close/>
                <a:moveTo>
                  <a:pt x="580822" y="2855"/>
                </a:moveTo>
                <a:cubicBezTo>
                  <a:pt x="572619" y="2855"/>
                  <a:pt x="565644" y="9787"/>
                  <a:pt x="565644" y="17943"/>
                </a:cubicBezTo>
                <a:lnTo>
                  <a:pt x="565644" y="68511"/>
                </a:lnTo>
                <a:lnTo>
                  <a:pt x="483610" y="3670"/>
                </a:lnTo>
                <a:cubicBezTo>
                  <a:pt x="480738" y="1223"/>
                  <a:pt x="476635" y="3262"/>
                  <a:pt x="476635" y="6933"/>
                </a:cubicBezTo>
                <a:lnTo>
                  <a:pt x="476635" y="110922"/>
                </a:lnTo>
                <a:cubicBezTo>
                  <a:pt x="476635" y="119078"/>
                  <a:pt x="483610" y="126010"/>
                  <a:pt x="491813" y="126010"/>
                </a:cubicBezTo>
                <a:cubicBezTo>
                  <a:pt x="500016" y="126010"/>
                  <a:pt x="506991" y="119078"/>
                  <a:pt x="506991" y="110922"/>
                </a:cubicBezTo>
                <a:lnTo>
                  <a:pt x="506991" y="60762"/>
                </a:lnTo>
                <a:lnTo>
                  <a:pt x="589025" y="125603"/>
                </a:lnTo>
                <a:cubicBezTo>
                  <a:pt x="591897" y="128050"/>
                  <a:pt x="596000" y="126010"/>
                  <a:pt x="596000" y="122340"/>
                </a:cubicBezTo>
                <a:lnTo>
                  <a:pt x="596000" y="17943"/>
                </a:lnTo>
                <a:cubicBezTo>
                  <a:pt x="596000" y="9787"/>
                  <a:pt x="589025" y="2855"/>
                  <a:pt x="580822" y="2855"/>
                </a:cubicBezTo>
                <a:close/>
                <a:moveTo>
                  <a:pt x="248983" y="96241"/>
                </a:moveTo>
                <a:lnTo>
                  <a:pt x="197299" y="96241"/>
                </a:lnTo>
                <a:lnTo>
                  <a:pt x="262929" y="9787"/>
                </a:lnTo>
                <a:cubicBezTo>
                  <a:pt x="264980" y="6933"/>
                  <a:pt x="262929" y="2855"/>
                  <a:pt x="259648" y="2855"/>
                </a:cubicBezTo>
                <a:lnTo>
                  <a:pt x="164484" y="2855"/>
                </a:lnTo>
                <a:cubicBezTo>
                  <a:pt x="156281" y="2855"/>
                  <a:pt x="149308" y="9787"/>
                  <a:pt x="149308" y="17943"/>
                </a:cubicBezTo>
                <a:cubicBezTo>
                  <a:pt x="149308" y="26099"/>
                  <a:pt x="156281" y="33032"/>
                  <a:pt x="164484" y="33032"/>
                </a:cubicBezTo>
                <a:lnTo>
                  <a:pt x="207554" y="33032"/>
                </a:lnTo>
                <a:lnTo>
                  <a:pt x="141514" y="119486"/>
                </a:lnTo>
                <a:cubicBezTo>
                  <a:pt x="139463" y="122340"/>
                  <a:pt x="141514" y="126418"/>
                  <a:pt x="145206" y="126418"/>
                </a:cubicBezTo>
                <a:lnTo>
                  <a:pt x="248983" y="126418"/>
                </a:lnTo>
                <a:cubicBezTo>
                  <a:pt x="257186" y="126418"/>
                  <a:pt x="264160" y="119486"/>
                  <a:pt x="264160" y="111330"/>
                </a:cubicBezTo>
                <a:cubicBezTo>
                  <a:pt x="264160" y="103174"/>
                  <a:pt x="257186" y="96241"/>
                  <a:pt x="248983" y="96241"/>
                </a:cubicBezTo>
                <a:close/>
              </a:path>
            </a:pathLst>
          </a:custGeom>
          <a:solidFill>
            <a:schemeClr val="bg1"/>
          </a:solidFill>
          <a:ln w="399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1201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8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4692F5B7-B90A-C91A-2047-FDFD8FC7FE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47999" y="6465021"/>
            <a:ext cx="8182800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Заголовок 1">
            <a:extLst>
              <a:ext uri="{FF2B5EF4-FFF2-40B4-BE49-F238E27FC236}">
                <a16:creationId xmlns:a16="http://schemas.microsoft.com/office/drawing/2014/main" id="{64D5D928-54C7-0515-241F-75818620F1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4"/>
            <a:ext cx="10910888" cy="3588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слайда в 1 строку</a:t>
            </a:r>
          </a:p>
        </p:txBody>
      </p:sp>
      <p:sp>
        <p:nvSpPr>
          <p:cNvPr id="36" name="Текст 10">
            <a:extLst>
              <a:ext uri="{FF2B5EF4-FFF2-40B4-BE49-F238E27FC236}">
                <a16:creationId xmlns:a16="http://schemas.microsoft.com/office/drawing/2014/main" id="{214F87F9-9F23-A982-C724-BD3B326E88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763" y="833072"/>
            <a:ext cx="10926762" cy="358858"/>
          </a:xfrm>
        </p:spPr>
        <p:txBody>
          <a:bodyPr/>
          <a:lstStyle>
            <a:lvl1pPr>
              <a:lnSpc>
                <a:spcPct val="9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Сформулируй подзаголовок в 1–2 строки</a:t>
            </a:r>
          </a:p>
        </p:txBody>
      </p:sp>
      <p:sp>
        <p:nvSpPr>
          <p:cNvPr id="37" name="Прямоугольник: скругленные углы 36">
            <a:extLst>
              <a:ext uri="{FF2B5EF4-FFF2-40B4-BE49-F238E27FC236}">
                <a16:creationId xmlns:a16="http://schemas.microsoft.com/office/drawing/2014/main" id="{FA396019-081A-9B04-222C-8B96235EC847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: скругленные верхние углы 37">
            <a:extLst>
              <a:ext uri="{FF2B5EF4-FFF2-40B4-BE49-F238E27FC236}">
                <a16:creationId xmlns:a16="http://schemas.microsoft.com/office/drawing/2014/main" id="{CC120812-6660-E8D7-71B4-58E1CA35329D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9" name="Таблица 46">
            <a:extLst>
              <a:ext uri="{FF2B5EF4-FFF2-40B4-BE49-F238E27FC236}">
                <a16:creationId xmlns:a16="http://schemas.microsoft.com/office/drawing/2014/main" id="{C214627B-A561-23DE-11FC-3859ACF3095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503260718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40" name="Полилиния: фигура 39">
            <a:extLst>
              <a:ext uri="{FF2B5EF4-FFF2-40B4-BE49-F238E27FC236}">
                <a16:creationId xmlns:a16="http://schemas.microsoft.com/office/drawing/2014/main" id="{D1137D18-51FF-7720-A2D7-B37EEEBBCC0C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23B159E9-20E8-0A2B-3C13-5DC3075723AD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41" name="Прямоугольник: скругленные углы 40">
              <a:extLst>
                <a:ext uri="{FF2B5EF4-FFF2-40B4-BE49-F238E27FC236}">
                  <a16:creationId xmlns:a16="http://schemas.microsoft.com/office/drawing/2014/main" id="{566337A3-419B-5548-427C-8BBD150D3D1C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2" name="Прямоугольник: скругленные верхние углы 41">
              <a:extLst>
                <a:ext uri="{FF2B5EF4-FFF2-40B4-BE49-F238E27FC236}">
                  <a16:creationId xmlns:a16="http://schemas.microsoft.com/office/drawing/2014/main" id="{A7CA02EB-2903-E635-74FB-6FD510BF6B1B}"/>
                </a:ext>
              </a:extLst>
            </p:cNvPr>
            <p:cNvSpPr/>
            <p:nvPr userDrawn="1"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A74777F-4787-A2C5-15DD-B87E53B916AE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BA2A9BEF-B764-3057-4F8B-338F03CDC0B3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5" name="Прямоугольник: скругленные углы 44">
              <a:extLst>
                <a:ext uri="{FF2B5EF4-FFF2-40B4-BE49-F238E27FC236}">
                  <a16:creationId xmlns:a16="http://schemas.microsoft.com/office/drawing/2014/main" id="{E9781EB1-E747-7F6E-40F9-2C6050FE3163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Прямоугольник: скругленные углы 45">
              <a:extLst>
                <a:ext uri="{FF2B5EF4-FFF2-40B4-BE49-F238E27FC236}">
                  <a16:creationId xmlns:a16="http://schemas.microsoft.com/office/drawing/2014/main" id="{539332B0-2BC3-3264-9290-9C4B7DAE3DC6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Прямоугольник: скругленные углы 46">
              <a:extLst>
                <a:ext uri="{FF2B5EF4-FFF2-40B4-BE49-F238E27FC236}">
                  <a16:creationId xmlns:a16="http://schemas.microsoft.com/office/drawing/2014/main" id="{A97C9E13-AAE9-2957-FD8A-DBADEDC872E5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AC0EA1C8-48E3-AB0E-23C6-CB04284ECB59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42120B1C-D546-C088-A954-7C4E256ACCCC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0" name="Прямоугольник: скругленные углы 49">
              <a:extLst>
                <a:ext uri="{FF2B5EF4-FFF2-40B4-BE49-F238E27FC236}">
                  <a16:creationId xmlns:a16="http://schemas.microsoft.com/office/drawing/2014/main" id="{8934E3AD-FD04-2A84-260C-FF2AD50AFF9C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6FE8020-B466-057C-1F3A-DDD528CCF9E3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52" name="Прямоугольник: скругленные углы 51">
              <a:extLst>
                <a:ext uri="{FF2B5EF4-FFF2-40B4-BE49-F238E27FC236}">
                  <a16:creationId xmlns:a16="http://schemas.microsoft.com/office/drawing/2014/main" id="{F083C728-8AD4-AC9D-1F10-9BE01006AC6B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02E7F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E0D4F730-CDDC-3B01-F46F-7335AD6D169C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6ABD7DA2-B7D2-83B7-715B-871892EEDB40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56ABA9E4-CE2F-FCA3-F06D-C1A0F3B10929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EF333911-2F76-C19D-5E60-B585B698547E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CDA811FA-7E2C-7C48-DA23-4270E8038F0A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C07589DC-A73D-9F91-411D-2965D80692BA}"/>
                </a:ext>
              </a:extLst>
            </p:cNvPr>
            <p:cNvSpPr/>
            <p:nvPr userDrawn="1"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02B4939-2531-61DB-17CE-79C27E0602CA}"/>
                </a:ext>
              </a:extLst>
            </p:cNvPr>
            <p:cNvSpPr txBox="1"/>
            <p:nvPr userDrawn="1"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60" name="Рисунок 93">
              <a:extLst>
                <a:ext uri="{FF2B5EF4-FFF2-40B4-BE49-F238E27FC236}">
                  <a16:creationId xmlns:a16="http://schemas.microsoft.com/office/drawing/2014/main" id="{B38423FC-7E3E-FA33-A345-C5CE15C79436}"/>
                </a:ext>
              </a:extLst>
            </p:cNvPr>
            <p:cNvSpPr/>
            <p:nvPr userDrawn="1"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BE6FB665-8540-DB40-CB2D-A53C8528A2D4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503DEC01-33DE-5CEB-6FB2-3EA97F7A6BDF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64">
              <a:extLst>
                <a:ext uri="{FF2B5EF4-FFF2-40B4-BE49-F238E27FC236}">
                  <a16:creationId xmlns:a16="http://schemas.microsoft.com/office/drawing/2014/main" id="{9FAC5470-8232-E507-4C50-451393513E8C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65">
              <a:extLst>
                <a:ext uri="{FF2B5EF4-FFF2-40B4-BE49-F238E27FC236}">
                  <a16:creationId xmlns:a16="http://schemas.microsoft.com/office/drawing/2014/main" id="{853C56D5-7633-05A9-4CA3-85866E367022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EC930174-278D-1164-093F-8AF71562C0CA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5" name="Рисунок 1">
            <a:extLst>
              <a:ext uri="{FF2B5EF4-FFF2-40B4-BE49-F238E27FC236}">
                <a16:creationId xmlns:a16="http://schemas.microsoft.com/office/drawing/2014/main" id="{0504D573-64F8-CE59-7A8C-2438E404DFD6}"/>
              </a:ext>
            </a:extLst>
          </p:cNvPr>
          <p:cNvSpPr/>
          <p:nvPr userDrawn="1"/>
        </p:nvSpPr>
        <p:spPr>
          <a:xfrm>
            <a:off x="640541" y="6472839"/>
            <a:ext cx="596000" cy="128865"/>
          </a:xfrm>
          <a:custGeom>
            <a:avLst/>
            <a:gdLst>
              <a:gd name="connsiteX0" fmla="*/ 64809 w 596000"/>
              <a:gd name="connsiteY0" fmla="*/ 0 h 128865"/>
              <a:gd name="connsiteX1" fmla="*/ 0 w 596000"/>
              <a:gd name="connsiteY1" fmla="*/ 64433 h 128865"/>
              <a:gd name="connsiteX2" fmla="*/ 64809 w 596000"/>
              <a:gd name="connsiteY2" fmla="*/ 128865 h 128865"/>
              <a:gd name="connsiteX3" fmla="*/ 129619 w 596000"/>
              <a:gd name="connsiteY3" fmla="*/ 64433 h 128865"/>
              <a:gd name="connsiteX4" fmla="*/ 64809 w 596000"/>
              <a:gd name="connsiteY4" fmla="*/ 0 h 128865"/>
              <a:gd name="connsiteX5" fmla="*/ 64809 w 596000"/>
              <a:gd name="connsiteY5" fmla="*/ 99096 h 128865"/>
              <a:gd name="connsiteX6" fmla="*/ 29944 w 596000"/>
              <a:gd name="connsiteY6" fmla="*/ 64433 h 128865"/>
              <a:gd name="connsiteX7" fmla="*/ 64809 w 596000"/>
              <a:gd name="connsiteY7" fmla="*/ 29769 h 128865"/>
              <a:gd name="connsiteX8" fmla="*/ 99675 w 596000"/>
              <a:gd name="connsiteY8" fmla="*/ 64433 h 128865"/>
              <a:gd name="connsiteX9" fmla="*/ 64809 w 596000"/>
              <a:gd name="connsiteY9" fmla="*/ 99096 h 128865"/>
              <a:gd name="connsiteX10" fmla="*/ 363835 w 596000"/>
              <a:gd name="connsiteY10" fmla="*/ 0 h 128865"/>
              <a:gd name="connsiteX11" fmla="*/ 272774 w 596000"/>
              <a:gd name="connsiteY11" fmla="*/ 64433 h 128865"/>
              <a:gd name="connsiteX12" fmla="*/ 363835 w 596000"/>
              <a:gd name="connsiteY12" fmla="*/ 128865 h 128865"/>
              <a:gd name="connsiteX13" fmla="*/ 454897 w 596000"/>
              <a:gd name="connsiteY13" fmla="*/ 64433 h 128865"/>
              <a:gd name="connsiteX14" fmla="*/ 363835 w 596000"/>
              <a:gd name="connsiteY14" fmla="*/ 0 h 128865"/>
              <a:gd name="connsiteX15" fmla="*/ 363835 w 596000"/>
              <a:gd name="connsiteY15" fmla="*/ 99096 h 128865"/>
              <a:gd name="connsiteX16" fmla="*/ 303127 w 596000"/>
              <a:gd name="connsiteY16" fmla="*/ 64840 h 128865"/>
              <a:gd name="connsiteX17" fmla="*/ 363835 w 596000"/>
              <a:gd name="connsiteY17" fmla="*/ 30585 h 128865"/>
              <a:gd name="connsiteX18" fmla="*/ 424541 w 596000"/>
              <a:gd name="connsiteY18" fmla="*/ 64840 h 128865"/>
              <a:gd name="connsiteX19" fmla="*/ 363835 w 596000"/>
              <a:gd name="connsiteY19" fmla="*/ 99096 h 128865"/>
              <a:gd name="connsiteX20" fmla="*/ 580822 w 596000"/>
              <a:gd name="connsiteY20" fmla="*/ 2855 h 128865"/>
              <a:gd name="connsiteX21" fmla="*/ 565644 w 596000"/>
              <a:gd name="connsiteY21" fmla="*/ 17943 h 128865"/>
              <a:gd name="connsiteX22" fmla="*/ 565644 w 596000"/>
              <a:gd name="connsiteY22" fmla="*/ 68511 h 128865"/>
              <a:gd name="connsiteX23" fmla="*/ 483610 w 596000"/>
              <a:gd name="connsiteY23" fmla="*/ 3670 h 128865"/>
              <a:gd name="connsiteX24" fmla="*/ 476635 w 596000"/>
              <a:gd name="connsiteY24" fmla="*/ 6933 h 128865"/>
              <a:gd name="connsiteX25" fmla="*/ 476635 w 596000"/>
              <a:gd name="connsiteY25" fmla="*/ 110922 h 128865"/>
              <a:gd name="connsiteX26" fmla="*/ 491813 w 596000"/>
              <a:gd name="connsiteY26" fmla="*/ 126010 h 128865"/>
              <a:gd name="connsiteX27" fmla="*/ 506991 w 596000"/>
              <a:gd name="connsiteY27" fmla="*/ 110922 h 128865"/>
              <a:gd name="connsiteX28" fmla="*/ 506991 w 596000"/>
              <a:gd name="connsiteY28" fmla="*/ 60762 h 128865"/>
              <a:gd name="connsiteX29" fmla="*/ 589025 w 596000"/>
              <a:gd name="connsiteY29" fmla="*/ 125603 h 128865"/>
              <a:gd name="connsiteX30" fmla="*/ 596000 w 596000"/>
              <a:gd name="connsiteY30" fmla="*/ 122340 h 128865"/>
              <a:gd name="connsiteX31" fmla="*/ 596000 w 596000"/>
              <a:gd name="connsiteY31" fmla="*/ 17943 h 128865"/>
              <a:gd name="connsiteX32" fmla="*/ 580822 w 596000"/>
              <a:gd name="connsiteY32" fmla="*/ 2855 h 128865"/>
              <a:gd name="connsiteX33" fmla="*/ 248983 w 596000"/>
              <a:gd name="connsiteY33" fmla="*/ 96241 h 128865"/>
              <a:gd name="connsiteX34" fmla="*/ 197299 w 596000"/>
              <a:gd name="connsiteY34" fmla="*/ 96241 h 128865"/>
              <a:gd name="connsiteX35" fmla="*/ 262929 w 596000"/>
              <a:gd name="connsiteY35" fmla="*/ 9787 h 128865"/>
              <a:gd name="connsiteX36" fmla="*/ 259648 w 596000"/>
              <a:gd name="connsiteY36" fmla="*/ 2855 h 128865"/>
              <a:gd name="connsiteX37" fmla="*/ 164484 w 596000"/>
              <a:gd name="connsiteY37" fmla="*/ 2855 h 128865"/>
              <a:gd name="connsiteX38" fmla="*/ 149308 w 596000"/>
              <a:gd name="connsiteY38" fmla="*/ 17943 h 128865"/>
              <a:gd name="connsiteX39" fmla="*/ 164484 w 596000"/>
              <a:gd name="connsiteY39" fmla="*/ 33032 h 128865"/>
              <a:gd name="connsiteX40" fmla="*/ 207554 w 596000"/>
              <a:gd name="connsiteY40" fmla="*/ 33032 h 128865"/>
              <a:gd name="connsiteX41" fmla="*/ 141514 w 596000"/>
              <a:gd name="connsiteY41" fmla="*/ 119486 h 128865"/>
              <a:gd name="connsiteX42" fmla="*/ 145206 w 596000"/>
              <a:gd name="connsiteY42" fmla="*/ 126418 h 128865"/>
              <a:gd name="connsiteX43" fmla="*/ 248983 w 596000"/>
              <a:gd name="connsiteY43" fmla="*/ 126418 h 128865"/>
              <a:gd name="connsiteX44" fmla="*/ 264160 w 596000"/>
              <a:gd name="connsiteY44" fmla="*/ 111330 h 128865"/>
              <a:gd name="connsiteX45" fmla="*/ 248983 w 596000"/>
              <a:gd name="connsiteY45" fmla="*/ 96241 h 128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96000" h="128865">
                <a:moveTo>
                  <a:pt x="64809" y="0"/>
                </a:moveTo>
                <a:cubicBezTo>
                  <a:pt x="29123" y="0"/>
                  <a:pt x="0" y="28954"/>
                  <a:pt x="0" y="64433"/>
                </a:cubicBezTo>
                <a:cubicBezTo>
                  <a:pt x="0" y="99911"/>
                  <a:pt x="29123" y="128865"/>
                  <a:pt x="64809" y="128865"/>
                </a:cubicBezTo>
                <a:cubicBezTo>
                  <a:pt x="100906" y="128865"/>
                  <a:pt x="129619" y="99911"/>
                  <a:pt x="129619" y="64433"/>
                </a:cubicBezTo>
                <a:cubicBezTo>
                  <a:pt x="129619" y="28954"/>
                  <a:pt x="100906" y="0"/>
                  <a:pt x="64809" y="0"/>
                </a:cubicBezTo>
                <a:close/>
                <a:moveTo>
                  <a:pt x="64809" y="99096"/>
                </a:moveTo>
                <a:cubicBezTo>
                  <a:pt x="45531" y="99096"/>
                  <a:pt x="29944" y="83599"/>
                  <a:pt x="29944" y="64433"/>
                </a:cubicBezTo>
                <a:cubicBezTo>
                  <a:pt x="29944" y="45266"/>
                  <a:pt x="45531" y="29769"/>
                  <a:pt x="64809" y="29769"/>
                </a:cubicBezTo>
                <a:cubicBezTo>
                  <a:pt x="84088" y="29769"/>
                  <a:pt x="99675" y="45266"/>
                  <a:pt x="99675" y="64433"/>
                </a:cubicBezTo>
                <a:cubicBezTo>
                  <a:pt x="99675" y="83599"/>
                  <a:pt x="84088" y="99096"/>
                  <a:pt x="64809" y="99096"/>
                </a:cubicBezTo>
                <a:close/>
                <a:moveTo>
                  <a:pt x="363835" y="0"/>
                </a:moveTo>
                <a:cubicBezTo>
                  <a:pt x="313382" y="0"/>
                  <a:pt x="272774" y="28954"/>
                  <a:pt x="272774" y="64433"/>
                </a:cubicBezTo>
                <a:cubicBezTo>
                  <a:pt x="272774" y="99911"/>
                  <a:pt x="313382" y="128865"/>
                  <a:pt x="363835" y="128865"/>
                </a:cubicBezTo>
                <a:cubicBezTo>
                  <a:pt x="414288" y="128865"/>
                  <a:pt x="454897" y="99911"/>
                  <a:pt x="454897" y="64433"/>
                </a:cubicBezTo>
                <a:cubicBezTo>
                  <a:pt x="454897" y="28954"/>
                  <a:pt x="413878" y="0"/>
                  <a:pt x="363835" y="0"/>
                </a:cubicBezTo>
                <a:close/>
                <a:moveTo>
                  <a:pt x="363835" y="99096"/>
                </a:moveTo>
                <a:cubicBezTo>
                  <a:pt x="328969" y="99096"/>
                  <a:pt x="303127" y="80744"/>
                  <a:pt x="303127" y="64840"/>
                </a:cubicBezTo>
                <a:cubicBezTo>
                  <a:pt x="303127" y="48936"/>
                  <a:pt x="328969" y="30585"/>
                  <a:pt x="363835" y="30585"/>
                </a:cubicBezTo>
                <a:cubicBezTo>
                  <a:pt x="398701" y="30585"/>
                  <a:pt x="424541" y="48936"/>
                  <a:pt x="424541" y="64840"/>
                </a:cubicBezTo>
                <a:cubicBezTo>
                  <a:pt x="424541" y="80744"/>
                  <a:pt x="398290" y="99096"/>
                  <a:pt x="363835" y="99096"/>
                </a:cubicBezTo>
                <a:close/>
                <a:moveTo>
                  <a:pt x="580822" y="2855"/>
                </a:moveTo>
                <a:cubicBezTo>
                  <a:pt x="572619" y="2855"/>
                  <a:pt x="565644" y="9787"/>
                  <a:pt x="565644" y="17943"/>
                </a:cubicBezTo>
                <a:lnTo>
                  <a:pt x="565644" y="68511"/>
                </a:lnTo>
                <a:lnTo>
                  <a:pt x="483610" y="3670"/>
                </a:lnTo>
                <a:cubicBezTo>
                  <a:pt x="480738" y="1223"/>
                  <a:pt x="476635" y="3262"/>
                  <a:pt x="476635" y="6933"/>
                </a:cubicBezTo>
                <a:lnTo>
                  <a:pt x="476635" y="110922"/>
                </a:lnTo>
                <a:cubicBezTo>
                  <a:pt x="476635" y="119078"/>
                  <a:pt x="483610" y="126010"/>
                  <a:pt x="491813" y="126010"/>
                </a:cubicBezTo>
                <a:cubicBezTo>
                  <a:pt x="500016" y="126010"/>
                  <a:pt x="506991" y="119078"/>
                  <a:pt x="506991" y="110922"/>
                </a:cubicBezTo>
                <a:lnTo>
                  <a:pt x="506991" y="60762"/>
                </a:lnTo>
                <a:lnTo>
                  <a:pt x="589025" y="125603"/>
                </a:lnTo>
                <a:cubicBezTo>
                  <a:pt x="591897" y="128050"/>
                  <a:pt x="596000" y="126010"/>
                  <a:pt x="596000" y="122340"/>
                </a:cubicBezTo>
                <a:lnTo>
                  <a:pt x="596000" y="17943"/>
                </a:lnTo>
                <a:cubicBezTo>
                  <a:pt x="596000" y="9787"/>
                  <a:pt x="589025" y="2855"/>
                  <a:pt x="580822" y="2855"/>
                </a:cubicBezTo>
                <a:close/>
                <a:moveTo>
                  <a:pt x="248983" y="96241"/>
                </a:moveTo>
                <a:lnTo>
                  <a:pt x="197299" y="96241"/>
                </a:lnTo>
                <a:lnTo>
                  <a:pt x="262929" y="9787"/>
                </a:lnTo>
                <a:cubicBezTo>
                  <a:pt x="264980" y="6933"/>
                  <a:pt x="262929" y="2855"/>
                  <a:pt x="259648" y="2855"/>
                </a:cubicBezTo>
                <a:lnTo>
                  <a:pt x="164484" y="2855"/>
                </a:lnTo>
                <a:cubicBezTo>
                  <a:pt x="156281" y="2855"/>
                  <a:pt x="149308" y="9787"/>
                  <a:pt x="149308" y="17943"/>
                </a:cubicBezTo>
                <a:cubicBezTo>
                  <a:pt x="149308" y="26099"/>
                  <a:pt x="156281" y="33032"/>
                  <a:pt x="164484" y="33032"/>
                </a:cubicBezTo>
                <a:lnTo>
                  <a:pt x="207554" y="33032"/>
                </a:lnTo>
                <a:lnTo>
                  <a:pt x="141514" y="119486"/>
                </a:lnTo>
                <a:cubicBezTo>
                  <a:pt x="139463" y="122340"/>
                  <a:pt x="141514" y="126418"/>
                  <a:pt x="145206" y="126418"/>
                </a:cubicBezTo>
                <a:lnTo>
                  <a:pt x="248983" y="126418"/>
                </a:lnTo>
                <a:cubicBezTo>
                  <a:pt x="257186" y="126418"/>
                  <a:pt x="264160" y="119486"/>
                  <a:pt x="264160" y="111330"/>
                </a:cubicBezTo>
                <a:cubicBezTo>
                  <a:pt x="264160" y="103174"/>
                  <a:pt x="257186" y="96241"/>
                  <a:pt x="248983" y="96241"/>
                </a:cubicBezTo>
                <a:close/>
              </a:path>
            </a:pathLst>
          </a:custGeom>
          <a:solidFill>
            <a:schemeClr val="bg1"/>
          </a:solidFill>
          <a:ln w="399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2119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_titl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606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2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4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985CD6E-087D-7D18-E079-FFF35855D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49399" y="6465021"/>
            <a:ext cx="8182800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99" y="420493"/>
            <a:ext cx="10910888" cy="783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2000"/>
              </a:lnSpc>
              <a:defRPr sz="4400" spc="-30" baseline="0">
                <a:solidFill>
                  <a:schemeClr val="bg2"/>
                </a:solidFill>
              </a:defRPr>
            </a:lvl1pPr>
          </a:lstStyle>
          <a:p>
            <a:r>
              <a:rPr lang="ru-RU"/>
              <a:t>Заголовок слайда в 1 строку</a:t>
            </a:r>
          </a:p>
        </p:txBody>
      </p: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9FD9122D-7091-6BA2-07EA-163A1869AEA8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: скругленные верхние углы 8">
            <a:extLst>
              <a:ext uri="{FF2B5EF4-FFF2-40B4-BE49-F238E27FC236}">
                <a16:creationId xmlns:a16="http://schemas.microsoft.com/office/drawing/2014/main" id="{6D6F03CD-D114-F37B-E03D-2CA35E1A3592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10" name="Таблица 46">
            <a:extLst>
              <a:ext uri="{FF2B5EF4-FFF2-40B4-BE49-F238E27FC236}">
                <a16:creationId xmlns:a16="http://schemas.microsoft.com/office/drawing/2014/main" id="{B02E023D-DDB5-0937-D525-4B70C7E155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4895827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5</a:t>
                      </a:r>
                      <a:r>
                        <a:rPr lang="ru-RU" sz="1200" b="1"/>
                        <a:t>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44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</a:t>
                      </a:r>
                      <a:r>
                        <a:rPr lang="en-US" sz="1200" b="1"/>
                        <a:t>8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8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4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2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2836D397-07DF-F44E-B241-E646372182BD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4BCD1CCE-0DCF-28D9-8B9F-AADB768AF282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12" name="Прямоугольник: скругленные углы 11">
              <a:extLst>
                <a:ext uri="{FF2B5EF4-FFF2-40B4-BE49-F238E27FC236}">
                  <a16:creationId xmlns:a16="http://schemas.microsoft.com/office/drawing/2014/main" id="{1601141B-7552-E452-C42D-D83FBDF0C386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9C953B3B-710F-60F4-95EE-83BCEB2E2120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C1778AB-794A-1FEE-E924-7212C304BD92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15" name="Прямоугольник: скругленные углы 14">
              <a:extLst>
                <a:ext uri="{FF2B5EF4-FFF2-40B4-BE49-F238E27FC236}">
                  <a16:creationId xmlns:a16="http://schemas.microsoft.com/office/drawing/2014/main" id="{F15C0F5C-F3A4-A4E7-1E94-A8B49E0C789D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9143BD1C-4850-CC8A-0752-BD02C2BC5F11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Прямоугольник: скругленные углы 16">
              <a:extLst>
                <a:ext uri="{FF2B5EF4-FFF2-40B4-BE49-F238E27FC236}">
                  <a16:creationId xmlns:a16="http://schemas.microsoft.com/office/drawing/2014/main" id="{8F1C3642-1C3F-BAC4-65BC-7922B787A511}"/>
                </a:ext>
              </a:extLst>
            </p:cNvPr>
            <p:cNvSpPr/>
            <p:nvPr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: скругленные углы 26">
              <a:extLst>
                <a:ext uri="{FF2B5EF4-FFF2-40B4-BE49-F238E27FC236}">
                  <a16:creationId xmlns:a16="http://schemas.microsoft.com/office/drawing/2014/main" id="{7450BCFA-5C36-8E65-C523-A4B3A94E480C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6FC55928-4C98-E75B-EDED-C2B9F34DEAFA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33" name="Прямоугольник: скругленные углы 32">
              <a:extLst>
                <a:ext uri="{FF2B5EF4-FFF2-40B4-BE49-F238E27FC236}">
                  <a16:creationId xmlns:a16="http://schemas.microsoft.com/office/drawing/2014/main" id="{04CD7C2C-AF7F-B9F1-5E08-258259900CB8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" name="Прямоугольник: скругленные углы 33">
              <a:extLst>
                <a:ext uri="{FF2B5EF4-FFF2-40B4-BE49-F238E27FC236}">
                  <a16:creationId xmlns:a16="http://schemas.microsoft.com/office/drawing/2014/main" id="{0CAF54B8-C71D-15C5-B835-EFC44A8FEFFC}"/>
                </a:ext>
              </a:extLst>
            </p:cNvPr>
            <p:cNvSpPr/>
            <p:nvPr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FB2ADF0-3C8A-B96C-6C71-6F34EA1D0423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36" name="Прямоугольник: скругленные углы 35">
              <a:extLst>
                <a:ext uri="{FF2B5EF4-FFF2-40B4-BE49-F238E27FC236}">
                  <a16:creationId xmlns:a16="http://schemas.microsoft.com/office/drawing/2014/main" id="{29C5A579-AD23-3A13-8547-D0A79363D8BB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02E7F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Прямоугольник: скругленные углы 36">
              <a:extLst>
                <a:ext uri="{FF2B5EF4-FFF2-40B4-BE49-F238E27FC236}">
                  <a16:creationId xmlns:a16="http://schemas.microsoft.com/office/drawing/2014/main" id="{51BE6CE7-30F3-0C38-17CC-34AD5F9A0274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Прямоугольник: скругленные углы 37">
              <a:extLst>
                <a:ext uri="{FF2B5EF4-FFF2-40B4-BE49-F238E27FC236}">
                  <a16:creationId xmlns:a16="http://schemas.microsoft.com/office/drawing/2014/main" id="{3EE0FA28-E437-5088-4587-B3310CF9114A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831A4954-7528-7A7A-D8B7-D85855F3838D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CAAB4F23-B6F6-BE86-72D5-75DCB4E91663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41" name="Прямоугольник: скругленные углы 40">
              <a:extLst>
                <a:ext uri="{FF2B5EF4-FFF2-40B4-BE49-F238E27FC236}">
                  <a16:creationId xmlns:a16="http://schemas.microsoft.com/office/drawing/2014/main" id="{E1AC14D7-9983-FD95-4CF5-0C45CC99CFC1}"/>
                </a:ext>
              </a:extLst>
            </p:cNvPr>
            <p:cNvSpPr/>
            <p:nvPr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DE66BA12-7BE1-65E4-ABBA-E3C361EBA7D0}"/>
                </a:ext>
              </a:extLst>
            </p:cNvPr>
            <p:cNvSpPr/>
            <p:nvPr userDrawn="1"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D445918-1580-EC44-D483-9AD2835F339A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44" name="Рисунок 93">
              <a:extLst>
                <a:ext uri="{FF2B5EF4-FFF2-40B4-BE49-F238E27FC236}">
                  <a16:creationId xmlns:a16="http://schemas.microsoft.com/office/drawing/2014/main" id="{54F3EF9D-23E0-C3CF-1920-18C0E2D7CA49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63E3BBEE-2E11-0366-66E5-3BF26675463C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48" name="Прямоугольник: скругленные углы 47">
              <a:extLst>
                <a:ext uri="{FF2B5EF4-FFF2-40B4-BE49-F238E27FC236}">
                  <a16:creationId xmlns:a16="http://schemas.microsoft.com/office/drawing/2014/main" id="{76FA02E2-326D-FD81-3B73-A05DDE1D4D71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F72FB05D-C0D4-5F92-54E7-9E5158DCD364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0" name="Прямоугольник: скругленные углы 49">
              <a:extLst>
                <a:ext uri="{FF2B5EF4-FFF2-40B4-BE49-F238E27FC236}">
                  <a16:creationId xmlns:a16="http://schemas.microsoft.com/office/drawing/2014/main" id="{D40D6FF8-C719-5B99-E078-F9CE05A236B3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3DB4C809-1195-88CA-2A75-08AA1F1CFF03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19" name="Номер слайда 5">
            <a:extLst>
              <a:ext uri="{FF2B5EF4-FFF2-40B4-BE49-F238E27FC236}">
                <a16:creationId xmlns:a16="http://schemas.microsoft.com/office/drawing/2014/main" id="{A29A8329-61B1-1D0C-F101-E5C427CD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Рисунок 1">
            <a:extLst>
              <a:ext uri="{FF2B5EF4-FFF2-40B4-BE49-F238E27FC236}">
                <a16:creationId xmlns:a16="http://schemas.microsoft.com/office/drawing/2014/main" id="{1118B9FB-E833-FA79-5889-04932CC9E03A}"/>
              </a:ext>
            </a:extLst>
          </p:cNvPr>
          <p:cNvSpPr/>
          <p:nvPr userDrawn="1"/>
        </p:nvSpPr>
        <p:spPr>
          <a:xfrm>
            <a:off x="640541" y="6472839"/>
            <a:ext cx="596000" cy="128865"/>
          </a:xfrm>
          <a:custGeom>
            <a:avLst/>
            <a:gdLst>
              <a:gd name="connsiteX0" fmla="*/ 64809 w 596000"/>
              <a:gd name="connsiteY0" fmla="*/ 0 h 128865"/>
              <a:gd name="connsiteX1" fmla="*/ 0 w 596000"/>
              <a:gd name="connsiteY1" fmla="*/ 64433 h 128865"/>
              <a:gd name="connsiteX2" fmla="*/ 64809 w 596000"/>
              <a:gd name="connsiteY2" fmla="*/ 128865 h 128865"/>
              <a:gd name="connsiteX3" fmla="*/ 129619 w 596000"/>
              <a:gd name="connsiteY3" fmla="*/ 64433 h 128865"/>
              <a:gd name="connsiteX4" fmla="*/ 64809 w 596000"/>
              <a:gd name="connsiteY4" fmla="*/ 0 h 128865"/>
              <a:gd name="connsiteX5" fmla="*/ 64809 w 596000"/>
              <a:gd name="connsiteY5" fmla="*/ 99096 h 128865"/>
              <a:gd name="connsiteX6" fmla="*/ 29944 w 596000"/>
              <a:gd name="connsiteY6" fmla="*/ 64433 h 128865"/>
              <a:gd name="connsiteX7" fmla="*/ 64809 w 596000"/>
              <a:gd name="connsiteY7" fmla="*/ 29769 h 128865"/>
              <a:gd name="connsiteX8" fmla="*/ 99675 w 596000"/>
              <a:gd name="connsiteY8" fmla="*/ 64433 h 128865"/>
              <a:gd name="connsiteX9" fmla="*/ 64809 w 596000"/>
              <a:gd name="connsiteY9" fmla="*/ 99096 h 128865"/>
              <a:gd name="connsiteX10" fmla="*/ 363835 w 596000"/>
              <a:gd name="connsiteY10" fmla="*/ 0 h 128865"/>
              <a:gd name="connsiteX11" fmla="*/ 272774 w 596000"/>
              <a:gd name="connsiteY11" fmla="*/ 64433 h 128865"/>
              <a:gd name="connsiteX12" fmla="*/ 363835 w 596000"/>
              <a:gd name="connsiteY12" fmla="*/ 128865 h 128865"/>
              <a:gd name="connsiteX13" fmla="*/ 454897 w 596000"/>
              <a:gd name="connsiteY13" fmla="*/ 64433 h 128865"/>
              <a:gd name="connsiteX14" fmla="*/ 363835 w 596000"/>
              <a:gd name="connsiteY14" fmla="*/ 0 h 128865"/>
              <a:gd name="connsiteX15" fmla="*/ 363835 w 596000"/>
              <a:gd name="connsiteY15" fmla="*/ 99096 h 128865"/>
              <a:gd name="connsiteX16" fmla="*/ 303127 w 596000"/>
              <a:gd name="connsiteY16" fmla="*/ 64840 h 128865"/>
              <a:gd name="connsiteX17" fmla="*/ 363835 w 596000"/>
              <a:gd name="connsiteY17" fmla="*/ 30585 h 128865"/>
              <a:gd name="connsiteX18" fmla="*/ 424541 w 596000"/>
              <a:gd name="connsiteY18" fmla="*/ 64840 h 128865"/>
              <a:gd name="connsiteX19" fmla="*/ 363835 w 596000"/>
              <a:gd name="connsiteY19" fmla="*/ 99096 h 128865"/>
              <a:gd name="connsiteX20" fmla="*/ 580822 w 596000"/>
              <a:gd name="connsiteY20" fmla="*/ 2855 h 128865"/>
              <a:gd name="connsiteX21" fmla="*/ 565644 w 596000"/>
              <a:gd name="connsiteY21" fmla="*/ 17943 h 128865"/>
              <a:gd name="connsiteX22" fmla="*/ 565644 w 596000"/>
              <a:gd name="connsiteY22" fmla="*/ 68511 h 128865"/>
              <a:gd name="connsiteX23" fmla="*/ 483610 w 596000"/>
              <a:gd name="connsiteY23" fmla="*/ 3670 h 128865"/>
              <a:gd name="connsiteX24" fmla="*/ 476635 w 596000"/>
              <a:gd name="connsiteY24" fmla="*/ 6933 h 128865"/>
              <a:gd name="connsiteX25" fmla="*/ 476635 w 596000"/>
              <a:gd name="connsiteY25" fmla="*/ 110922 h 128865"/>
              <a:gd name="connsiteX26" fmla="*/ 491813 w 596000"/>
              <a:gd name="connsiteY26" fmla="*/ 126010 h 128865"/>
              <a:gd name="connsiteX27" fmla="*/ 506991 w 596000"/>
              <a:gd name="connsiteY27" fmla="*/ 110922 h 128865"/>
              <a:gd name="connsiteX28" fmla="*/ 506991 w 596000"/>
              <a:gd name="connsiteY28" fmla="*/ 60762 h 128865"/>
              <a:gd name="connsiteX29" fmla="*/ 589025 w 596000"/>
              <a:gd name="connsiteY29" fmla="*/ 125603 h 128865"/>
              <a:gd name="connsiteX30" fmla="*/ 596000 w 596000"/>
              <a:gd name="connsiteY30" fmla="*/ 122340 h 128865"/>
              <a:gd name="connsiteX31" fmla="*/ 596000 w 596000"/>
              <a:gd name="connsiteY31" fmla="*/ 17943 h 128865"/>
              <a:gd name="connsiteX32" fmla="*/ 580822 w 596000"/>
              <a:gd name="connsiteY32" fmla="*/ 2855 h 128865"/>
              <a:gd name="connsiteX33" fmla="*/ 248983 w 596000"/>
              <a:gd name="connsiteY33" fmla="*/ 96241 h 128865"/>
              <a:gd name="connsiteX34" fmla="*/ 197299 w 596000"/>
              <a:gd name="connsiteY34" fmla="*/ 96241 h 128865"/>
              <a:gd name="connsiteX35" fmla="*/ 262929 w 596000"/>
              <a:gd name="connsiteY35" fmla="*/ 9787 h 128865"/>
              <a:gd name="connsiteX36" fmla="*/ 259648 w 596000"/>
              <a:gd name="connsiteY36" fmla="*/ 2855 h 128865"/>
              <a:gd name="connsiteX37" fmla="*/ 164484 w 596000"/>
              <a:gd name="connsiteY37" fmla="*/ 2855 h 128865"/>
              <a:gd name="connsiteX38" fmla="*/ 149308 w 596000"/>
              <a:gd name="connsiteY38" fmla="*/ 17943 h 128865"/>
              <a:gd name="connsiteX39" fmla="*/ 164484 w 596000"/>
              <a:gd name="connsiteY39" fmla="*/ 33032 h 128865"/>
              <a:gd name="connsiteX40" fmla="*/ 207554 w 596000"/>
              <a:gd name="connsiteY40" fmla="*/ 33032 h 128865"/>
              <a:gd name="connsiteX41" fmla="*/ 141514 w 596000"/>
              <a:gd name="connsiteY41" fmla="*/ 119486 h 128865"/>
              <a:gd name="connsiteX42" fmla="*/ 145206 w 596000"/>
              <a:gd name="connsiteY42" fmla="*/ 126418 h 128865"/>
              <a:gd name="connsiteX43" fmla="*/ 248983 w 596000"/>
              <a:gd name="connsiteY43" fmla="*/ 126418 h 128865"/>
              <a:gd name="connsiteX44" fmla="*/ 264160 w 596000"/>
              <a:gd name="connsiteY44" fmla="*/ 111330 h 128865"/>
              <a:gd name="connsiteX45" fmla="*/ 248983 w 596000"/>
              <a:gd name="connsiteY45" fmla="*/ 96241 h 128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96000" h="128865">
                <a:moveTo>
                  <a:pt x="64809" y="0"/>
                </a:moveTo>
                <a:cubicBezTo>
                  <a:pt x="29123" y="0"/>
                  <a:pt x="0" y="28954"/>
                  <a:pt x="0" y="64433"/>
                </a:cubicBezTo>
                <a:cubicBezTo>
                  <a:pt x="0" y="99911"/>
                  <a:pt x="29123" y="128865"/>
                  <a:pt x="64809" y="128865"/>
                </a:cubicBezTo>
                <a:cubicBezTo>
                  <a:pt x="100906" y="128865"/>
                  <a:pt x="129619" y="99911"/>
                  <a:pt x="129619" y="64433"/>
                </a:cubicBezTo>
                <a:cubicBezTo>
                  <a:pt x="129619" y="28954"/>
                  <a:pt x="100906" y="0"/>
                  <a:pt x="64809" y="0"/>
                </a:cubicBezTo>
                <a:close/>
                <a:moveTo>
                  <a:pt x="64809" y="99096"/>
                </a:moveTo>
                <a:cubicBezTo>
                  <a:pt x="45531" y="99096"/>
                  <a:pt x="29944" y="83599"/>
                  <a:pt x="29944" y="64433"/>
                </a:cubicBezTo>
                <a:cubicBezTo>
                  <a:pt x="29944" y="45266"/>
                  <a:pt x="45531" y="29769"/>
                  <a:pt x="64809" y="29769"/>
                </a:cubicBezTo>
                <a:cubicBezTo>
                  <a:pt x="84088" y="29769"/>
                  <a:pt x="99675" y="45266"/>
                  <a:pt x="99675" y="64433"/>
                </a:cubicBezTo>
                <a:cubicBezTo>
                  <a:pt x="99675" y="83599"/>
                  <a:pt x="84088" y="99096"/>
                  <a:pt x="64809" y="99096"/>
                </a:cubicBezTo>
                <a:close/>
                <a:moveTo>
                  <a:pt x="363835" y="0"/>
                </a:moveTo>
                <a:cubicBezTo>
                  <a:pt x="313382" y="0"/>
                  <a:pt x="272774" y="28954"/>
                  <a:pt x="272774" y="64433"/>
                </a:cubicBezTo>
                <a:cubicBezTo>
                  <a:pt x="272774" y="99911"/>
                  <a:pt x="313382" y="128865"/>
                  <a:pt x="363835" y="128865"/>
                </a:cubicBezTo>
                <a:cubicBezTo>
                  <a:pt x="414288" y="128865"/>
                  <a:pt x="454897" y="99911"/>
                  <a:pt x="454897" y="64433"/>
                </a:cubicBezTo>
                <a:cubicBezTo>
                  <a:pt x="454897" y="28954"/>
                  <a:pt x="413878" y="0"/>
                  <a:pt x="363835" y="0"/>
                </a:cubicBezTo>
                <a:close/>
                <a:moveTo>
                  <a:pt x="363835" y="99096"/>
                </a:moveTo>
                <a:cubicBezTo>
                  <a:pt x="328969" y="99096"/>
                  <a:pt x="303127" y="80744"/>
                  <a:pt x="303127" y="64840"/>
                </a:cubicBezTo>
                <a:cubicBezTo>
                  <a:pt x="303127" y="48936"/>
                  <a:pt x="328969" y="30585"/>
                  <a:pt x="363835" y="30585"/>
                </a:cubicBezTo>
                <a:cubicBezTo>
                  <a:pt x="398701" y="30585"/>
                  <a:pt x="424541" y="48936"/>
                  <a:pt x="424541" y="64840"/>
                </a:cubicBezTo>
                <a:cubicBezTo>
                  <a:pt x="424541" y="80744"/>
                  <a:pt x="398290" y="99096"/>
                  <a:pt x="363835" y="99096"/>
                </a:cubicBezTo>
                <a:close/>
                <a:moveTo>
                  <a:pt x="580822" y="2855"/>
                </a:moveTo>
                <a:cubicBezTo>
                  <a:pt x="572619" y="2855"/>
                  <a:pt x="565644" y="9787"/>
                  <a:pt x="565644" y="17943"/>
                </a:cubicBezTo>
                <a:lnTo>
                  <a:pt x="565644" y="68511"/>
                </a:lnTo>
                <a:lnTo>
                  <a:pt x="483610" y="3670"/>
                </a:lnTo>
                <a:cubicBezTo>
                  <a:pt x="480738" y="1223"/>
                  <a:pt x="476635" y="3262"/>
                  <a:pt x="476635" y="6933"/>
                </a:cubicBezTo>
                <a:lnTo>
                  <a:pt x="476635" y="110922"/>
                </a:lnTo>
                <a:cubicBezTo>
                  <a:pt x="476635" y="119078"/>
                  <a:pt x="483610" y="126010"/>
                  <a:pt x="491813" y="126010"/>
                </a:cubicBezTo>
                <a:cubicBezTo>
                  <a:pt x="500016" y="126010"/>
                  <a:pt x="506991" y="119078"/>
                  <a:pt x="506991" y="110922"/>
                </a:cubicBezTo>
                <a:lnTo>
                  <a:pt x="506991" y="60762"/>
                </a:lnTo>
                <a:lnTo>
                  <a:pt x="589025" y="125603"/>
                </a:lnTo>
                <a:cubicBezTo>
                  <a:pt x="591897" y="128050"/>
                  <a:pt x="596000" y="126010"/>
                  <a:pt x="596000" y="122340"/>
                </a:cubicBezTo>
                <a:lnTo>
                  <a:pt x="596000" y="17943"/>
                </a:lnTo>
                <a:cubicBezTo>
                  <a:pt x="596000" y="9787"/>
                  <a:pt x="589025" y="2855"/>
                  <a:pt x="580822" y="2855"/>
                </a:cubicBezTo>
                <a:close/>
                <a:moveTo>
                  <a:pt x="248983" y="96241"/>
                </a:moveTo>
                <a:lnTo>
                  <a:pt x="197299" y="96241"/>
                </a:lnTo>
                <a:lnTo>
                  <a:pt x="262929" y="9787"/>
                </a:lnTo>
                <a:cubicBezTo>
                  <a:pt x="264980" y="6933"/>
                  <a:pt x="262929" y="2855"/>
                  <a:pt x="259648" y="2855"/>
                </a:cubicBezTo>
                <a:lnTo>
                  <a:pt x="164484" y="2855"/>
                </a:lnTo>
                <a:cubicBezTo>
                  <a:pt x="156281" y="2855"/>
                  <a:pt x="149308" y="9787"/>
                  <a:pt x="149308" y="17943"/>
                </a:cubicBezTo>
                <a:cubicBezTo>
                  <a:pt x="149308" y="26099"/>
                  <a:pt x="156281" y="33032"/>
                  <a:pt x="164484" y="33032"/>
                </a:cubicBezTo>
                <a:lnTo>
                  <a:pt x="207554" y="33032"/>
                </a:lnTo>
                <a:lnTo>
                  <a:pt x="141514" y="119486"/>
                </a:lnTo>
                <a:cubicBezTo>
                  <a:pt x="139463" y="122340"/>
                  <a:pt x="141514" y="126418"/>
                  <a:pt x="145206" y="126418"/>
                </a:cubicBezTo>
                <a:lnTo>
                  <a:pt x="248983" y="126418"/>
                </a:lnTo>
                <a:cubicBezTo>
                  <a:pt x="257186" y="126418"/>
                  <a:pt x="264160" y="119486"/>
                  <a:pt x="264160" y="111330"/>
                </a:cubicBezTo>
                <a:cubicBezTo>
                  <a:pt x="264160" y="103174"/>
                  <a:pt x="257186" y="96241"/>
                  <a:pt x="248983" y="96241"/>
                </a:cubicBezTo>
                <a:close/>
              </a:path>
            </a:pathLst>
          </a:custGeom>
          <a:solidFill>
            <a:schemeClr val="bg1"/>
          </a:solidFill>
          <a:ln w="399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9605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1838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7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Прямоугольник: скругленные углы 59">
            <a:extLst>
              <a:ext uri="{FF2B5EF4-FFF2-40B4-BE49-F238E27FC236}">
                <a16:creationId xmlns:a16="http://schemas.microsoft.com/office/drawing/2014/main" id="{6AF4706E-194B-0A30-2718-34E7D7319965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Прямоугольник: скругленные верхние углы 60">
            <a:extLst>
              <a:ext uri="{FF2B5EF4-FFF2-40B4-BE49-F238E27FC236}">
                <a16:creationId xmlns:a16="http://schemas.microsoft.com/office/drawing/2014/main" id="{66C04289-EBA6-A8EA-BE9E-D91E549D654E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67" name="Таблица 46">
            <a:extLst>
              <a:ext uri="{FF2B5EF4-FFF2-40B4-BE49-F238E27FC236}">
                <a16:creationId xmlns:a16="http://schemas.microsoft.com/office/drawing/2014/main" id="{EED75387-9477-C69D-3BA3-66D18A09F0E1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7774323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68" name="Полилиния: фигура 67">
            <a:extLst>
              <a:ext uri="{FF2B5EF4-FFF2-40B4-BE49-F238E27FC236}">
                <a16:creationId xmlns:a16="http://schemas.microsoft.com/office/drawing/2014/main" id="{E22991C0-E32F-2F6E-12D2-4EC3D4112A7E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200C313C-7F35-191B-9168-05615B5FAE59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69" name="Прямоугольник: скругленные углы 68">
              <a:extLst>
                <a:ext uri="{FF2B5EF4-FFF2-40B4-BE49-F238E27FC236}">
                  <a16:creationId xmlns:a16="http://schemas.microsoft.com/office/drawing/2014/main" id="{1139CD9A-C603-ED8E-7116-7FB44FB69922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Прямоугольник: скругленные верхние углы 69">
              <a:extLst>
                <a:ext uri="{FF2B5EF4-FFF2-40B4-BE49-F238E27FC236}">
                  <a16:creationId xmlns:a16="http://schemas.microsoft.com/office/drawing/2014/main" id="{2EA1A961-2B57-A0E2-6F9D-F6720D633319}"/>
                </a:ext>
              </a:extLst>
            </p:cNvPr>
            <p:cNvSpPr/>
            <p:nvPr userDrawn="1"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4F0D33E1-157E-5C1C-3B20-313E07C46127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72" name="Прямоугольник: скругленные углы 71">
              <a:extLst>
                <a:ext uri="{FF2B5EF4-FFF2-40B4-BE49-F238E27FC236}">
                  <a16:creationId xmlns:a16="http://schemas.microsoft.com/office/drawing/2014/main" id="{6DC298D9-101F-C359-AE2B-EC47E4CC0AD4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3" name="Прямоугольник: скругленные углы 72">
              <a:extLst>
                <a:ext uri="{FF2B5EF4-FFF2-40B4-BE49-F238E27FC236}">
                  <a16:creationId xmlns:a16="http://schemas.microsoft.com/office/drawing/2014/main" id="{E3B2CF0F-A99E-EC35-4034-EF6CBFAA8BAA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4" name="Прямоугольник: скругленные углы 73">
              <a:extLst>
                <a:ext uri="{FF2B5EF4-FFF2-40B4-BE49-F238E27FC236}">
                  <a16:creationId xmlns:a16="http://schemas.microsoft.com/office/drawing/2014/main" id="{EBE11FE5-AC07-EA42-D119-4E50AD1CF2DE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Прямоугольник: скругленные углы 74">
              <a:extLst>
                <a:ext uri="{FF2B5EF4-FFF2-40B4-BE49-F238E27FC236}">
                  <a16:creationId xmlns:a16="http://schemas.microsoft.com/office/drawing/2014/main" id="{B9E433AD-4741-6400-8A0D-96F9DCEAFCFC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6443CE6A-AC08-7969-B269-8265F1D179B6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77" name="Прямоугольник: скругленные углы 76">
              <a:extLst>
                <a:ext uri="{FF2B5EF4-FFF2-40B4-BE49-F238E27FC236}">
                  <a16:creationId xmlns:a16="http://schemas.microsoft.com/office/drawing/2014/main" id="{81D17F5C-7922-FA2F-68A7-CC37F1467F40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" name="Прямоугольник: скругленные углы 77">
              <a:extLst>
                <a:ext uri="{FF2B5EF4-FFF2-40B4-BE49-F238E27FC236}">
                  <a16:creationId xmlns:a16="http://schemas.microsoft.com/office/drawing/2014/main" id="{811D1D28-C2AB-D36C-46E3-656C8A28C656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9D2B800C-C780-8509-41F4-88C9C0C6CC12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80" name="Прямоугольник: скругленные углы 79">
              <a:extLst>
                <a:ext uri="{FF2B5EF4-FFF2-40B4-BE49-F238E27FC236}">
                  <a16:creationId xmlns:a16="http://schemas.microsoft.com/office/drawing/2014/main" id="{B691919D-675F-68D2-9D8D-B4F083FE475C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02E7F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: скругленные углы 80">
              <a:extLst>
                <a:ext uri="{FF2B5EF4-FFF2-40B4-BE49-F238E27FC236}">
                  <a16:creationId xmlns:a16="http://schemas.microsoft.com/office/drawing/2014/main" id="{A7977A39-9764-1C17-7C10-5DC391817E42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2" name="Прямоугольник: скругленные углы 81">
              <a:extLst>
                <a:ext uri="{FF2B5EF4-FFF2-40B4-BE49-F238E27FC236}">
                  <a16:creationId xmlns:a16="http://schemas.microsoft.com/office/drawing/2014/main" id="{271E263C-80EE-A0CF-5429-212BDDDF8E79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3" name="Прямоугольник: скругленные углы 82">
              <a:extLst>
                <a:ext uri="{FF2B5EF4-FFF2-40B4-BE49-F238E27FC236}">
                  <a16:creationId xmlns:a16="http://schemas.microsoft.com/office/drawing/2014/main" id="{27EFCF9E-BF66-27C1-4F9E-4797151B7824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3190431C-4FD4-8EF7-7515-0F6EF21AA752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85" name="Прямоугольник: скругленные углы 84">
              <a:extLst>
                <a:ext uri="{FF2B5EF4-FFF2-40B4-BE49-F238E27FC236}">
                  <a16:creationId xmlns:a16="http://schemas.microsoft.com/office/drawing/2014/main" id="{EF1E6EEB-9FA4-6EA8-4960-C3A7046A712D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Прямоугольник: скругленные углы 85">
              <a:extLst>
                <a:ext uri="{FF2B5EF4-FFF2-40B4-BE49-F238E27FC236}">
                  <a16:creationId xmlns:a16="http://schemas.microsoft.com/office/drawing/2014/main" id="{07E32F49-2F67-D854-AD31-65F4AAB76A9A}"/>
                </a:ext>
              </a:extLst>
            </p:cNvPr>
            <p:cNvSpPr/>
            <p:nvPr userDrawn="1"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DD45BB01-1561-A4DF-6EE5-24B215256ADF}"/>
                </a:ext>
              </a:extLst>
            </p:cNvPr>
            <p:cNvSpPr txBox="1"/>
            <p:nvPr userDrawn="1"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88" name="Рисунок 93">
              <a:extLst>
                <a:ext uri="{FF2B5EF4-FFF2-40B4-BE49-F238E27FC236}">
                  <a16:creationId xmlns:a16="http://schemas.microsoft.com/office/drawing/2014/main" id="{00694124-F903-0C77-72AB-C8C70724726A}"/>
                </a:ext>
              </a:extLst>
            </p:cNvPr>
            <p:cNvSpPr/>
            <p:nvPr userDrawn="1"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C9B0B376-ECF5-A150-A2FB-0E21E36AFDAD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90" name="Прямоугольник: скругленные углы 89">
              <a:extLst>
                <a:ext uri="{FF2B5EF4-FFF2-40B4-BE49-F238E27FC236}">
                  <a16:creationId xmlns:a16="http://schemas.microsoft.com/office/drawing/2014/main" id="{B8F5C4DB-B6F9-0610-8B4C-D366136B7430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1" name="Прямоугольник: скругленные углы 90">
              <a:extLst>
                <a:ext uri="{FF2B5EF4-FFF2-40B4-BE49-F238E27FC236}">
                  <a16:creationId xmlns:a16="http://schemas.microsoft.com/office/drawing/2014/main" id="{3DF6CD54-2CBA-060E-659B-A3C76776A459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2" name="Прямоугольник: скругленные углы 91">
              <a:extLst>
                <a:ext uri="{FF2B5EF4-FFF2-40B4-BE49-F238E27FC236}">
                  <a16:creationId xmlns:a16="http://schemas.microsoft.com/office/drawing/2014/main" id="{003D82E5-8243-3C72-95D6-28607F7704B3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93" name="TextBox 92">
            <a:extLst>
              <a:ext uri="{FF2B5EF4-FFF2-40B4-BE49-F238E27FC236}">
                <a16:creationId xmlns:a16="http://schemas.microsoft.com/office/drawing/2014/main" id="{080FC503-198C-9BAB-F771-B9545D4FF161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3661968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inal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5">
            <a:extLst>
              <a:ext uri="{FF2B5EF4-FFF2-40B4-BE49-F238E27FC236}">
                <a16:creationId xmlns:a16="http://schemas.microsoft.com/office/drawing/2014/main" id="{197A927F-73D8-A013-C06F-BEBBE8391F30}"/>
              </a:ext>
            </a:extLst>
          </p:cNvPr>
          <p:cNvSpPr/>
          <p:nvPr/>
        </p:nvSpPr>
        <p:spPr>
          <a:xfrm>
            <a:off x="639763" y="411162"/>
            <a:ext cx="10910888" cy="5851526"/>
          </a:xfrm>
          <a:custGeom>
            <a:avLst/>
            <a:gdLst>
              <a:gd name="connsiteX0" fmla="*/ 4777550 w 4777549"/>
              <a:gd name="connsiteY0" fmla="*/ 196977 h 2553938"/>
              <a:gd name="connsiteX1" fmla="*/ 4777550 w 4777549"/>
              <a:gd name="connsiteY1" fmla="*/ 1926527 h 2553938"/>
              <a:gd name="connsiteX2" fmla="*/ 4610196 w 4777549"/>
              <a:gd name="connsiteY2" fmla="*/ 2115598 h 2553938"/>
              <a:gd name="connsiteX3" fmla="*/ 2666238 w 4777549"/>
              <a:gd name="connsiteY3" fmla="*/ 2115598 h 2553938"/>
              <a:gd name="connsiteX4" fmla="*/ 2481548 w 4777549"/>
              <a:gd name="connsiteY4" fmla="*/ 2192084 h 2553938"/>
              <a:gd name="connsiteX5" fmla="*/ 2181130 w 4777549"/>
              <a:gd name="connsiteY5" fmla="*/ 2492502 h 2553938"/>
              <a:gd name="connsiteX6" fmla="*/ 2032921 w 4777549"/>
              <a:gd name="connsiteY6" fmla="*/ 2553938 h 2553938"/>
              <a:gd name="connsiteX7" fmla="*/ 196977 w 4777549"/>
              <a:gd name="connsiteY7" fmla="*/ 2553938 h 2553938"/>
              <a:gd name="connsiteX8" fmla="*/ 0 w 4777549"/>
              <a:gd name="connsiteY8" fmla="*/ 2356961 h 2553938"/>
              <a:gd name="connsiteX9" fmla="*/ 0 w 4777549"/>
              <a:gd name="connsiteY9" fmla="*/ 196977 h 2553938"/>
              <a:gd name="connsiteX10" fmla="*/ 196977 w 4777549"/>
              <a:gd name="connsiteY10" fmla="*/ 0 h 2553938"/>
              <a:gd name="connsiteX11" fmla="*/ 4580573 w 4777549"/>
              <a:gd name="connsiteY11" fmla="*/ 0 h 2553938"/>
              <a:gd name="connsiteX12" fmla="*/ 4777550 w 4777549"/>
              <a:gd name="connsiteY12" fmla="*/ 196977 h 2553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777549" h="2553938">
                <a:moveTo>
                  <a:pt x="4777550" y="196977"/>
                </a:moveTo>
                <a:lnTo>
                  <a:pt x="4777550" y="1926527"/>
                </a:lnTo>
                <a:cubicBezTo>
                  <a:pt x="4777550" y="2023967"/>
                  <a:pt x="4704493" y="2104263"/>
                  <a:pt x="4610196" y="2115598"/>
                </a:cubicBezTo>
                <a:lnTo>
                  <a:pt x="2666238" y="2115598"/>
                </a:lnTo>
                <a:cubicBezTo>
                  <a:pt x="2596991" y="2115598"/>
                  <a:pt x="2530602" y="2143125"/>
                  <a:pt x="2481548" y="2192084"/>
                </a:cubicBezTo>
                <a:lnTo>
                  <a:pt x="2181130" y="2492502"/>
                </a:lnTo>
                <a:cubicBezTo>
                  <a:pt x="2141792" y="2531840"/>
                  <a:pt x="2088452" y="2553938"/>
                  <a:pt x="2032921" y="2553938"/>
                </a:cubicBezTo>
                <a:lnTo>
                  <a:pt x="196977" y="2553938"/>
                </a:lnTo>
                <a:cubicBezTo>
                  <a:pt x="88202" y="2553938"/>
                  <a:pt x="0" y="2465737"/>
                  <a:pt x="0" y="2356961"/>
                </a:cubicBezTo>
                <a:lnTo>
                  <a:pt x="0" y="196977"/>
                </a:lnTo>
                <a:cubicBezTo>
                  <a:pt x="0" y="88202"/>
                  <a:pt x="88202" y="0"/>
                  <a:pt x="196977" y="0"/>
                </a:cubicBezTo>
                <a:lnTo>
                  <a:pt x="4580573" y="0"/>
                </a:lnTo>
                <a:cubicBezTo>
                  <a:pt x="4689348" y="0"/>
                  <a:pt x="4777550" y="88202"/>
                  <a:pt x="4777550" y="196977"/>
                </a:cubicBezTo>
                <a:close/>
              </a:path>
            </a:pathLst>
          </a:custGeom>
          <a:gradFill>
            <a:gsLst>
              <a:gs pos="15000">
                <a:schemeClr val="accent1"/>
              </a:gs>
              <a:gs pos="85000">
                <a:schemeClr val="accent3"/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endParaRPr lang="ru-RU" sz="1400">
              <a:solidFill>
                <a:schemeClr val="lt1"/>
              </a:solidFill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4115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0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E1F914-6E31-3D8A-0729-94C84B17961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55808" y="1931435"/>
            <a:ext cx="6340418" cy="2123348"/>
          </a:xfrm>
        </p:spPr>
        <p:txBody>
          <a:bodyPr vert="horz" anchor="b">
            <a:noAutofit/>
          </a:bodyPr>
          <a:lstStyle>
            <a:lvl1pPr algn="l">
              <a:lnSpc>
                <a:spcPct val="87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ru-RU"/>
              <a:t>Напиши призыв </a:t>
            </a:r>
            <a:br>
              <a:rPr lang="ru-RU"/>
            </a:br>
            <a:r>
              <a:rPr lang="ru-RU"/>
              <a:t>к действию</a:t>
            </a:r>
            <a:r>
              <a:rPr lang="en-US"/>
              <a:t> </a:t>
            </a:r>
            <a:r>
              <a:rPr lang="ru-RU"/>
              <a:t>в 2–3 строки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5194112"/>
            <a:ext cx="3867020" cy="590868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Имя и фамилия спикера, контакты </a:t>
            </a:r>
            <a:br>
              <a:rPr lang="ru-RU"/>
            </a:br>
            <a:r>
              <a:rPr lang="ru-RU"/>
              <a:t>или другая информация</a:t>
            </a:r>
          </a:p>
        </p:txBody>
      </p:sp>
      <p:sp>
        <p:nvSpPr>
          <p:cNvPr id="12" name="Рисунок 7">
            <a:extLst>
              <a:ext uri="{FF2B5EF4-FFF2-40B4-BE49-F238E27FC236}">
                <a16:creationId xmlns:a16="http://schemas.microsoft.com/office/drawing/2014/main" id="{8082470F-B02E-5F25-DB85-57374A194EE6}"/>
              </a:ext>
            </a:extLst>
          </p:cNvPr>
          <p:cNvSpPr/>
          <p:nvPr/>
        </p:nvSpPr>
        <p:spPr>
          <a:xfrm>
            <a:off x="1541812" y="1009909"/>
            <a:ext cx="1165502" cy="252000"/>
          </a:xfrm>
          <a:custGeom>
            <a:avLst/>
            <a:gdLst>
              <a:gd name="connsiteX0" fmla="*/ 126737 w 1165502"/>
              <a:gd name="connsiteY0" fmla="*/ 0 h 252000"/>
              <a:gd name="connsiteX1" fmla="*/ 0 w 1165502"/>
              <a:gd name="connsiteY1" fmla="*/ 126000 h 252000"/>
              <a:gd name="connsiteX2" fmla="*/ 126737 w 1165502"/>
              <a:gd name="connsiteY2" fmla="*/ 252000 h 252000"/>
              <a:gd name="connsiteX3" fmla="*/ 253475 w 1165502"/>
              <a:gd name="connsiteY3" fmla="*/ 126000 h 252000"/>
              <a:gd name="connsiteX4" fmla="*/ 126737 w 1165502"/>
              <a:gd name="connsiteY4" fmla="*/ 0 h 252000"/>
              <a:gd name="connsiteX5" fmla="*/ 126737 w 1165502"/>
              <a:gd name="connsiteY5" fmla="*/ 193785 h 252000"/>
              <a:gd name="connsiteX6" fmla="*/ 58556 w 1165502"/>
              <a:gd name="connsiteY6" fmla="*/ 126000 h 252000"/>
              <a:gd name="connsiteX7" fmla="*/ 126737 w 1165502"/>
              <a:gd name="connsiteY7" fmla="*/ 58215 h 252000"/>
              <a:gd name="connsiteX8" fmla="*/ 194918 w 1165502"/>
              <a:gd name="connsiteY8" fmla="*/ 126000 h 252000"/>
              <a:gd name="connsiteX9" fmla="*/ 126737 w 1165502"/>
              <a:gd name="connsiteY9" fmla="*/ 193785 h 252000"/>
              <a:gd name="connsiteX10" fmla="*/ 711493 w 1165502"/>
              <a:gd name="connsiteY10" fmla="*/ 0 h 252000"/>
              <a:gd name="connsiteX11" fmla="*/ 533420 w 1165502"/>
              <a:gd name="connsiteY11" fmla="*/ 126000 h 252000"/>
              <a:gd name="connsiteX12" fmla="*/ 711493 w 1165502"/>
              <a:gd name="connsiteY12" fmla="*/ 252000 h 252000"/>
              <a:gd name="connsiteX13" fmla="*/ 889569 w 1165502"/>
              <a:gd name="connsiteY13" fmla="*/ 126000 h 252000"/>
              <a:gd name="connsiteX14" fmla="*/ 711493 w 1165502"/>
              <a:gd name="connsiteY14" fmla="*/ 0 h 252000"/>
              <a:gd name="connsiteX15" fmla="*/ 711493 w 1165502"/>
              <a:gd name="connsiteY15" fmla="*/ 193785 h 252000"/>
              <a:gd name="connsiteX16" fmla="*/ 592778 w 1165502"/>
              <a:gd name="connsiteY16" fmla="*/ 126798 h 252000"/>
              <a:gd name="connsiteX17" fmla="*/ 711493 w 1165502"/>
              <a:gd name="connsiteY17" fmla="*/ 59810 h 252000"/>
              <a:gd name="connsiteX18" fmla="*/ 830208 w 1165502"/>
              <a:gd name="connsiteY18" fmla="*/ 126798 h 252000"/>
              <a:gd name="connsiteX19" fmla="*/ 711493 w 1165502"/>
              <a:gd name="connsiteY19" fmla="*/ 193785 h 252000"/>
              <a:gd name="connsiteX20" fmla="*/ 1135821 w 1165502"/>
              <a:gd name="connsiteY20" fmla="*/ 5582 h 252000"/>
              <a:gd name="connsiteX21" fmla="*/ 1106140 w 1165502"/>
              <a:gd name="connsiteY21" fmla="*/ 35089 h 252000"/>
              <a:gd name="connsiteX22" fmla="*/ 1106140 w 1165502"/>
              <a:gd name="connsiteY22" fmla="*/ 133975 h 252000"/>
              <a:gd name="connsiteX23" fmla="*/ 945718 w 1165502"/>
              <a:gd name="connsiteY23" fmla="*/ 7177 h 252000"/>
              <a:gd name="connsiteX24" fmla="*/ 932079 w 1165502"/>
              <a:gd name="connsiteY24" fmla="*/ 13557 h 252000"/>
              <a:gd name="connsiteX25" fmla="*/ 932079 w 1165502"/>
              <a:gd name="connsiteY25" fmla="*/ 216911 h 252000"/>
              <a:gd name="connsiteX26" fmla="*/ 961760 w 1165502"/>
              <a:gd name="connsiteY26" fmla="*/ 246417 h 252000"/>
              <a:gd name="connsiteX27" fmla="*/ 991441 w 1165502"/>
              <a:gd name="connsiteY27" fmla="*/ 216911 h 252000"/>
              <a:gd name="connsiteX28" fmla="*/ 991441 w 1165502"/>
              <a:gd name="connsiteY28" fmla="*/ 118823 h 252000"/>
              <a:gd name="connsiteX29" fmla="*/ 1151863 w 1165502"/>
              <a:gd name="connsiteY29" fmla="*/ 245620 h 252000"/>
              <a:gd name="connsiteX30" fmla="*/ 1165502 w 1165502"/>
              <a:gd name="connsiteY30" fmla="*/ 239240 h 252000"/>
              <a:gd name="connsiteX31" fmla="*/ 1165502 w 1165502"/>
              <a:gd name="connsiteY31" fmla="*/ 35089 h 252000"/>
              <a:gd name="connsiteX32" fmla="*/ 1135821 w 1165502"/>
              <a:gd name="connsiteY32" fmla="*/ 5582 h 252000"/>
              <a:gd name="connsiteX33" fmla="*/ 486896 w 1165502"/>
              <a:gd name="connsiteY33" fmla="*/ 188202 h 252000"/>
              <a:gd name="connsiteX34" fmla="*/ 385827 w 1165502"/>
              <a:gd name="connsiteY34" fmla="*/ 188202 h 252000"/>
              <a:gd name="connsiteX35" fmla="*/ 514168 w 1165502"/>
              <a:gd name="connsiteY35" fmla="*/ 19139 h 252000"/>
              <a:gd name="connsiteX36" fmla="*/ 507752 w 1165502"/>
              <a:gd name="connsiteY36" fmla="*/ 5582 h 252000"/>
              <a:gd name="connsiteX37" fmla="*/ 321656 w 1165502"/>
              <a:gd name="connsiteY37" fmla="*/ 5582 h 252000"/>
              <a:gd name="connsiteX38" fmla="*/ 291977 w 1165502"/>
              <a:gd name="connsiteY38" fmla="*/ 35089 h 252000"/>
              <a:gd name="connsiteX39" fmla="*/ 321656 w 1165502"/>
              <a:gd name="connsiteY39" fmla="*/ 64595 h 252000"/>
              <a:gd name="connsiteX40" fmla="*/ 405881 w 1165502"/>
              <a:gd name="connsiteY40" fmla="*/ 64595 h 252000"/>
              <a:gd name="connsiteX41" fmla="*/ 276737 w 1165502"/>
              <a:gd name="connsiteY41" fmla="*/ 233658 h 252000"/>
              <a:gd name="connsiteX42" fmla="*/ 283956 w 1165502"/>
              <a:gd name="connsiteY42" fmla="*/ 247215 h 252000"/>
              <a:gd name="connsiteX43" fmla="*/ 486896 w 1165502"/>
              <a:gd name="connsiteY43" fmla="*/ 247215 h 252000"/>
              <a:gd name="connsiteX44" fmla="*/ 516575 w 1165502"/>
              <a:gd name="connsiteY44" fmla="*/ 217709 h 252000"/>
              <a:gd name="connsiteX45" fmla="*/ 486896 w 1165502"/>
              <a:gd name="connsiteY45" fmla="*/ 188202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165502" h="252000">
                <a:moveTo>
                  <a:pt x="126737" y="0"/>
                </a:moveTo>
                <a:cubicBezTo>
                  <a:pt x="56952" y="0"/>
                  <a:pt x="0" y="56620"/>
                  <a:pt x="0" y="126000"/>
                </a:cubicBezTo>
                <a:cubicBezTo>
                  <a:pt x="0" y="195380"/>
                  <a:pt x="56952" y="252000"/>
                  <a:pt x="126737" y="252000"/>
                </a:cubicBezTo>
                <a:cubicBezTo>
                  <a:pt x="197325" y="252000"/>
                  <a:pt x="253475" y="195380"/>
                  <a:pt x="253475" y="126000"/>
                </a:cubicBezTo>
                <a:cubicBezTo>
                  <a:pt x="253475" y="56620"/>
                  <a:pt x="197325" y="0"/>
                  <a:pt x="126737" y="0"/>
                </a:cubicBezTo>
                <a:close/>
                <a:moveTo>
                  <a:pt x="126737" y="193785"/>
                </a:moveTo>
                <a:cubicBezTo>
                  <a:pt x="89037" y="193785"/>
                  <a:pt x="58556" y="163481"/>
                  <a:pt x="58556" y="126000"/>
                </a:cubicBezTo>
                <a:cubicBezTo>
                  <a:pt x="58556" y="88519"/>
                  <a:pt x="89037" y="58215"/>
                  <a:pt x="126737" y="58215"/>
                </a:cubicBezTo>
                <a:cubicBezTo>
                  <a:pt x="164437" y="58215"/>
                  <a:pt x="194918" y="88519"/>
                  <a:pt x="194918" y="126000"/>
                </a:cubicBezTo>
                <a:cubicBezTo>
                  <a:pt x="194918" y="163481"/>
                  <a:pt x="164437" y="193785"/>
                  <a:pt x="126737" y="193785"/>
                </a:cubicBezTo>
                <a:close/>
                <a:moveTo>
                  <a:pt x="711493" y="0"/>
                </a:moveTo>
                <a:cubicBezTo>
                  <a:pt x="612831" y="0"/>
                  <a:pt x="533420" y="56620"/>
                  <a:pt x="533420" y="126000"/>
                </a:cubicBezTo>
                <a:cubicBezTo>
                  <a:pt x="533420" y="195380"/>
                  <a:pt x="612831" y="252000"/>
                  <a:pt x="711493" y="252000"/>
                </a:cubicBezTo>
                <a:cubicBezTo>
                  <a:pt x="810158" y="252000"/>
                  <a:pt x="889569" y="195380"/>
                  <a:pt x="889569" y="126000"/>
                </a:cubicBezTo>
                <a:cubicBezTo>
                  <a:pt x="889569" y="56620"/>
                  <a:pt x="809355" y="0"/>
                  <a:pt x="711493" y="0"/>
                </a:cubicBezTo>
                <a:close/>
                <a:moveTo>
                  <a:pt x="711493" y="193785"/>
                </a:moveTo>
                <a:cubicBezTo>
                  <a:pt x="643312" y="193785"/>
                  <a:pt x="592778" y="157898"/>
                  <a:pt x="592778" y="126798"/>
                </a:cubicBezTo>
                <a:cubicBezTo>
                  <a:pt x="592778" y="95696"/>
                  <a:pt x="643312" y="59810"/>
                  <a:pt x="711493" y="59810"/>
                </a:cubicBezTo>
                <a:cubicBezTo>
                  <a:pt x="779675" y="59810"/>
                  <a:pt x="830208" y="95696"/>
                  <a:pt x="830208" y="126798"/>
                </a:cubicBezTo>
                <a:cubicBezTo>
                  <a:pt x="830208" y="157898"/>
                  <a:pt x="778873" y="193785"/>
                  <a:pt x="711493" y="193785"/>
                </a:cubicBezTo>
                <a:close/>
                <a:moveTo>
                  <a:pt x="1135821" y="5582"/>
                </a:moveTo>
                <a:cubicBezTo>
                  <a:pt x="1119780" y="5582"/>
                  <a:pt x="1106140" y="19139"/>
                  <a:pt x="1106140" y="35089"/>
                </a:cubicBezTo>
                <a:lnTo>
                  <a:pt x="1106140" y="133975"/>
                </a:lnTo>
                <a:lnTo>
                  <a:pt x="945718" y="7177"/>
                </a:lnTo>
                <a:cubicBezTo>
                  <a:pt x="940103" y="2392"/>
                  <a:pt x="932079" y="6380"/>
                  <a:pt x="932079" y="13557"/>
                </a:cubicBezTo>
                <a:lnTo>
                  <a:pt x="932079" y="216911"/>
                </a:lnTo>
                <a:cubicBezTo>
                  <a:pt x="932079" y="232861"/>
                  <a:pt x="945718" y="246417"/>
                  <a:pt x="961760" y="246417"/>
                </a:cubicBezTo>
                <a:cubicBezTo>
                  <a:pt x="977801" y="246417"/>
                  <a:pt x="991441" y="232861"/>
                  <a:pt x="991441" y="216911"/>
                </a:cubicBezTo>
                <a:lnTo>
                  <a:pt x="991441" y="118823"/>
                </a:lnTo>
                <a:lnTo>
                  <a:pt x="1151863" y="245620"/>
                </a:lnTo>
                <a:cubicBezTo>
                  <a:pt x="1157477" y="250405"/>
                  <a:pt x="1165502" y="246417"/>
                  <a:pt x="1165502" y="239240"/>
                </a:cubicBezTo>
                <a:lnTo>
                  <a:pt x="1165502" y="35089"/>
                </a:lnTo>
                <a:cubicBezTo>
                  <a:pt x="1165502" y="19139"/>
                  <a:pt x="1151863" y="5582"/>
                  <a:pt x="1135821" y="5582"/>
                </a:cubicBezTo>
                <a:close/>
                <a:moveTo>
                  <a:pt x="486896" y="188202"/>
                </a:moveTo>
                <a:lnTo>
                  <a:pt x="385827" y="188202"/>
                </a:lnTo>
                <a:lnTo>
                  <a:pt x="514168" y="19139"/>
                </a:lnTo>
                <a:cubicBezTo>
                  <a:pt x="518179" y="13557"/>
                  <a:pt x="514168" y="5582"/>
                  <a:pt x="507752" y="5582"/>
                </a:cubicBezTo>
                <a:lnTo>
                  <a:pt x="321656" y="5582"/>
                </a:lnTo>
                <a:cubicBezTo>
                  <a:pt x="305614" y="5582"/>
                  <a:pt x="291977" y="19139"/>
                  <a:pt x="291977" y="35089"/>
                </a:cubicBezTo>
                <a:cubicBezTo>
                  <a:pt x="291977" y="51038"/>
                  <a:pt x="305614" y="64595"/>
                  <a:pt x="321656" y="64595"/>
                </a:cubicBezTo>
                <a:lnTo>
                  <a:pt x="405881" y="64595"/>
                </a:lnTo>
                <a:lnTo>
                  <a:pt x="276737" y="233658"/>
                </a:lnTo>
                <a:cubicBezTo>
                  <a:pt x="272726" y="239240"/>
                  <a:pt x="276737" y="247215"/>
                  <a:pt x="283956" y="247215"/>
                </a:cubicBezTo>
                <a:lnTo>
                  <a:pt x="486896" y="247215"/>
                </a:lnTo>
                <a:cubicBezTo>
                  <a:pt x="502939" y="247215"/>
                  <a:pt x="516575" y="233658"/>
                  <a:pt x="516575" y="217709"/>
                </a:cubicBezTo>
                <a:cubicBezTo>
                  <a:pt x="516575" y="201760"/>
                  <a:pt x="502939" y="188202"/>
                  <a:pt x="486896" y="188202"/>
                </a:cubicBezTo>
                <a:close/>
              </a:path>
            </a:pathLst>
          </a:custGeom>
          <a:solidFill>
            <a:schemeClr val="bg1"/>
          </a:solidFill>
          <a:ln w="785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9660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orient="horz" pos="268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_colored">
    <p:bg>
      <p:bgPr>
        <a:solidFill>
          <a:srgbClr val="004E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5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4692F5B7-B90A-C91A-2047-FDFD8FC7FE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49399" y="6465021"/>
            <a:ext cx="8182800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E7388FD-D149-4D25-0D53-8FD572183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7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</a:t>
            </a:r>
            <a:br>
              <a:rPr lang="ru-RU"/>
            </a:br>
            <a:r>
              <a:rPr lang="ru-RU"/>
              <a:t>слайда в 1–2 строки</a:t>
            </a:r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574792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21549CC-0872-1288-C1D5-BD89CF9450AC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26561D24-BBBB-253A-7A51-A96C57F40E5B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A2B8DFB7-79B0-0439-C360-6941BF32E4D7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9298A01-26D5-77F0-1B44-28C8BBA32B5A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21EA26B0-23BA-7A00-892D-A1F326878E52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A5D3FC7E-9D3D-EB60-5F4A-AB0976EFEC60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068336B-339F-1776-3C0F-78C717AA59C8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48ABCE10-7A7F-1324-4D1D-7AD10D1042B1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FA92F67-A433-8731-5914-B14989A94311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504D71D0-6847-ADE8-467F-77206D5DE761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AB17545C-2653-11B9-6AAD-F2414CA88813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1D454EF4-1099-5940-A5D4-5F82D3172AE1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AB6D7EE-DAF5-E7EF-6D1E-0891469BD32B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E6DA982A-4819-86A4-B3E3-3820BE19C0E0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Прямоугольник: скругленные углы 51">
              <a:extLst>
                <a:ext uri="{FF2B5EF4-FFF2-40B4-BE49-F238E27FC236}">
                  <a16:creationId xmlns:a16="http://schemas.microsoft.com/office/drawing/2014/main" id="{4C7A1397-7A11-591D-AA68-55A9039699E9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02E7F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64568EE7-F81D-84C3-5AE6-8B77C2134C94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0BC0B63B-AFDA-54FE-3829-EC8AA6CFBAEB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2FE7B29-A123-EF1E-09DB-12AADC874FA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60" name="Рисунок 93">
              <a:extLst>
                <a:ext uri="{FF2B5EF4-FFF2-40B4-BE49-F238E27FC236}">
                  <a16:creationId xmlns:a16="http://schemas.microsoft.com/office/drawing/2014/main" id="{AA53B632-DD94-4453-746B-3AC3CCA27D0B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DE6F264-2180-A77B-E487-478DC7F970C2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2B9BFCAF-86CA-1244-E85A-F30E4AC766F2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64">
              <a:extLst>
                <a:ext uri="{FF2B5EF4-FFF2-40B4-BE49-F238E27FC236}">
                  <a16:creationId xmlns:a16="http://schemas.microsoft.com/office/drawing/2014/main" id="{860A63BB-781E-AEA8-4E5D-D35214A49880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65">
              <a:extLst>
                <a:ext uri="{FF2B5EF4-FFF2-40B4-BE49-F238E27FC236}">
                  <a16:creationId xmlns:a16="http://schemas.microsoft.com/office/drawing/2014/main" id="{09CABE96-EC03-3157-B363-C0896B3891CC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EF4B2147-300C-3BFA-81C6-8712BD20BD73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4EE10FC-9DA3-93DA-C40F-EE6AAC1DA6AC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580B6A99-E717-2740-36C4-A72DCF75745A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Прямоугольник: скругленные углы 16">
              <a:extLst>
                <a:ext uri="{FF2B5EF4-FFF2-40B4-BE49-F238E27FC236}">
                  <a16:creationId xmlns:a16="http://schemas.microsoft.com/office/drawing/2014/main" id="{8CC18F95-EA8B-20E0-9AED-F6279027B331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D236EB0-0368-AF7A-C5FA-BA1C74876D58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</p:grpSp>
      <p:sp>
        <p:nvSpPr>
          <p:cNvPr id="5" name="Рисунок 1">
            <a:extLst>
              <a:ext uri="{FF2B5EF4-FFF2-40B4-BE49-F238E27FC236}">
                <a16:creationId xmlns:a16="http://schemas.microsoft.com/office/drawing/2014/main" id="{EDDE68B4-5ABD-3EA6-201F-CE3D91E24CAF}"/>
              </a:ext>
            </a:extLst>
          </p:cNvPr>
          <p:cNvSpPr/>
          <p:nvPr userDrawn="1"/>
        </p:nvSpPr>
        <p:spPr>
          <a:xfrm>
            <a:off x="640541" y="6472839"/>
            <a:ext cx="596000" cy="128865"/>
          </a:xfrm>
          <a:custGeom>
            <a:avLst/>
            <a:gdLst>
              <a:gd name="connsiteX0" fmla="*/ 64809 w 596000"/>
              <a:gd name="connsiteY0" fmla="*/ 0 h 128865"/>
              <a:gd name="connsiteX1" fmla="*/ 0 w 596000"/>
              <a:gd name="connsiteY1" fmla="*/ 64433 h 128865"/>
              <a:gd name="connsiteX2" fmla="*/ 64809 w 596000"/>
              <a:gd name="connsiteY2" fmla="*/ 128865 h 128865"/>
              <a:gd name="connsiteX3" fmla="*/ 129619 w 596000"/>
              <a:gd name="connsiteY3" fmla="*/ 64433 h 128865"/>
              <a:gd name="connsiteX4" fmla="*/ 64809 w 596000"/>
              <a:gd name="connsiteY4" fmla="*/ 0 h 128865"/>
              <a:gd name="connsiteX5" fmla="*/ 64809 w 596000"/>
              <a:gd name="connsiteY5" fmla="*/ 99096 h 128865"/>
              <a:gd name="connsiteX6" fmla="*/ 29944 w 596000"/>
              <a:gd name="connsiteY6" fmla="*/ 64433 h 128865"/>
              <a:gd name="connsiteX7" fmla="*/ 64809 w 596000"/>
              <a:gd name="connsiteY7" fmla="*/ 29769 h 128865"/>
              <a:gd name="connsiteX8" fmla="*/ 99675 w 596000"/>
              <a:gd name="connsiteY8" fmla="*/ 64433 h 128865"/>
              <a:gd name="connsiteX9" fmla="*/ 64809 w 596000"/>
              <a:gd name="connsiteY9" fmla="*/ 99096 h 128865"/>
              <a:gd name="connsiteX10" fmla="*/ 363835 w 596000"/>
              <a:gd name="connsiteY10" fmla="*/ 0 h 128865"/>
              <a:gd name="connsiteX11" fmla="*/ 272774 w 596000"/>
              <a:gd name="connsiteY11" fmla="*/ 64433 h 128865"/>
              <a:gd name="connsiteX12" fmla="*/ 363835 w 596000"/>
              <a:gd name="connsiteY12" fmla="*/ 128865 h 128865"/>
              <a:gd name="connsiteX13" fmla="*/ 454897 w 596000"/>
              <a:gd name="connsiteY13" fmla="*/ 64433 h 128865"/>
              <a:gd name="connsiteX14" fmla="*/ 363835 w 596000"/>
              <a:gd name="connsiteY14" fmla="*/ 0 h 128865"/>
              <a:gd name="connsiteX15" fmla="*/ 363835 w 596000"/>
              <a:gd name="connsiteY15" fmla="*/ 99096 h 128865"/>
              <a:gd name="connsiteX16" fmla="*/ 303127 w 596000"/>
              <a:gd name="connsiteY16" fmla="*/ 64840 h 128865"/>
              <a:gd name="connsiteX17" fmla="*/ 363835 w 596000"/>
              <a:gd name="connsiteY17" fmla="*/ 30585 h 128865"/>
              <a:gd name="connsiteX18" fmla="*/ 424541 w 596000"/>
              <a:gd name="connsiteY18" fmla="*/ 64840 h 128865"/>
              <a:gd name="connsiteX19" fmla="*/ 363835 w 596000"/>
              <a:gd name="connsiteY19" fmla="*/ 99096 h 128865"/>
              <a:gd name="connsiteX20" fmla="*/ 580822 w 596000"/>
              <a:gd name="connsiteY20" fmla="*/ 2855 h 128865"/>
              <a:gd name="connsiteX21" fmla="*/ 565644 w 596000"/>
              <a:gd name="connsiteY21" fmla="*/ 17943 h 128865"/>
              <a:gd name="connsiteX22" fmla="*/ 565644 w 596000"/>
              <a:gd name="connsiteY22" fmla="*/ 68511 h 128865"/>
              <a:gd name="connsiteX23" fmla="*/ 483610 w 596000"/>
              <a:gd name="connsiteY23" fmla="*/ 3670 h 128865"/>
              <a:gd name="connsiteX24" fmla="*/ 476635 w 596000"/>
              <a:gd name="connsiteY24" fmla="*/ 6933 h 128865"/>
              <a:gd name="connsiteX25" fmla="*/ 476635 w 596000"/>
              <a:gd name="connsiteY25" fmla="*/ 110922 h 128865"/>
              <a:gd name="connsiteX26" fmla="*/ 491813 w 596000"/>
              <a:gd name="connsiteY26" fmla="*/ 126010 h 128865"/>
              <a:gd name="connsiteX27" fmla="*/ 506991 w 596000"/>
              <a:gd name="connsiteY27" fmla="*/ 110922 h 128865"/>
              <a:gd name="connsiteX28" fmla="*/ 506991 w 596000"/>
              <a:gd name="connsiteY28" fmla="*/ 60762 h 128865"/>
              <a:gd name="connsiteX29" fmla="*/ 589025 w 596000"/>
              <a:gd name="connsiteY29" fmla="*/ 125603 h 128865"/>
              <a:gd name="connsiteX30" fmla="*/ 596000 w 596000"/>
              <a:gd name="connsiteY30" fmla="*/ 122340 h 128865"/>
              <a:gd name="connsiteX31" fmla="*/ 596000 w 596000"/>
              <a:gd name="connsiteY31" fmla="*/ 17943 h 128865"/>
              <a:gd name="connsiteX32" fmla="*/ 580822 w 596000"/>
              <a:gd name="connsiteY32" fmla="*/ 2855 h 128865"/>
              <a:gd name="connsiteX33" fmla="*/ 248983 w 596000"/>
              <a:gd name="connsiteY33" fmla="*/ 96241 h 128865"/>
              <a:gd name="connsiteX34" fmla="*/ 197299 w 596000"/>
              <a:gd name="connsiteY34" fmla="*/ 96241 h 128865"/>
              <a:gd name="connsiteX35" fmla="*/ 262929 w 596000"/>
              <a:gd name="connsiteY35" fmla="*/ 9787 h 128865"/>
              <a:gd name="connsiteX36" fmla="*/ 259648 w 596000"/>
              <a:gd name="connsiteY36" fmla="*/ 2855 h 128865"/>
              <a:gd name="connsiteX37" fmla="*/ 164484 w 596000"/>
              <a:gd name="connsiteY37" fmla="*/ 2855 h 128865"/>
              <a:gd name="connsiteX38" fmla="*/ 149308 w 596000"/>
              <a:gd name="connsiteY38" fmla="*/ 17943 h 128865"/>
              <a:gd name="connsiteX39" fmla="*/ 164484 w 596000"/>
              <a:gd name="connsiteY39" fmla="*/ 33032 h 128865"/>
              <a:gd name="connsiteX40" fmla="*/ 207554 w 596000"/>
              <a:gd name="connsiteY40" fmla="*/ 33032 h 128865"/>
              <a:gd name="connsiteX41" fmla="*/ 141514 w 596000"/>
              <a:gd name="connsiteY41" fmla="*/ 119486 h 128865"/>
              <a:gd name="connsiteX42" fmla="*/ 145206 w 596000"/>
              <a:gd name="connsiteY42" fmla="*/ 126418 h 128865"/>
              <a:gd name="connsiteX43" fmla="*/ 248983 w 596000"/>
              <a:gd name="connsiteY43" fmla="*/ 126418 h 128865"/>
              <a:gd name="connsiteX44" fmla="*/ 264160 w 596000"/>
              <a:gd name="connsiteY44" fmla="*/ 111330 h 128865"/>
              <a:gd name="connsiteX45" fmla="*/ 248983 w 596000"/>
              <a:gd name="connsiteY45" fmla="*/ 96241 h 128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96000" h="128865">
                <a:moveTo>
                  <a:pt x="64809" y="0"/>
                </a:moveTo>
                <a:cubicBezTo>
                  <a:pt x="29123" y="0"/>
                  <a:pt x="0" y="28954"/>
                  <a:pt x="0" y="64433"/>
                </a:cubicBezTo>
                <a:cubicBezTo>
                  <a:pt x="0" y="99911"/>
                  <a:pt x="29123" y="128865"/>
                  <a:pt x="64809" y="128865"/>
                </a:cubicBezTo>
                <a:cubicBezTo>
                  <a:pt x="100906" y="128865"/>
                  <a:pt x="129619" y="99911"/>
                  <a:pt x="129619" y="64433"/>
                </a:cubicBezTo>
                <a:cubicBezTo>
                  <a:pt x="129619" y="28954"/>
                  <a:pt x="100906" y="0"/>
                  <a:pt x="64809" y="0"/>
                </a:cubicBezTo>
                <a:close/>
                <a:moveTo>
                  <a:pt x="64809" y="99096"/>
                </a:moveTo>
                <a:cubicBezTo>
                  <a:pt x="45531" y="99096"/>
                  <a:pt x="29944" y="83599"/>
                  <a:pt x="29944" y="64433"/>
                </a:cubicBezTo>
                <a:cubicBezTo>
                  <a:pt x="29944" y="45266"/>
                  <a:pt x="45531" y="29769"/>
                  <a:pt x="64809" y="29769"/>
                </a:cubicBezTo>
                <a:cubicBezTo>
                  <a:pt x="84088" y="29769"/>
                  <a:pt x="99675" y="45266"/>
                  <a:pt x="99675" y="64433"/>
                </a:cubicBezTo>
                <a:cubicBezTo>
                  <a:pt x="99675" y="83599"/>
                  <a:pt x="84088" y="99096"/>
                  <a:pt x="64809" y="99096"/>
                </a:cubicBezTo>
                <a:close/>
                <a:moveTo>
                  <a:pt x="363835" y="0"/>
                </a:moveTo>
                <a:cubicBezTo>
                  <a:pt x="313382" y="0"/>
                  <a:pt x="272774" y="28954"/>
                  <a:pt x="272774" y="64433"/>
                </a:cubicBezTo>
                <a:cubicBezTo>
                  <a:pt x="272774" y="99911"/>
                  <a:pt x="313382" y="128865"/>
                  <a:pt x="363835" y="128865"/>
                </a:cubicBezTo>
                <a:cubicBezTo>
                  <a:pt x="414288" y="128865"/>
                  <a:pt x="454897" y="99911"/>
                  <a:pt x="454897" y="64433"/>
                </a:cubicBezTo>
                <a:cubicBezTo>
                  <a:pt x="454897" y="28954"/>
                  <a:pt x="413878" y="0"/>
                  <a:pt x="363835" y="0"/>
                </a:cubicBezTo>
                <a:close/>
                <a:moveTo>
                  <a:pt x="363835" y="99096"/>
                </a:moveTo>
                <a:cubicBezTo>
                  <a:pt x="328969" y="99096"/>
                  <a:pt x="303127" y="80744"/>
                  <a:pt x="303127" y="64840"/>
                </a:cubicBezTo>
                <a:cubicBezTo>
                  <a:pt x="303127" y="48936"/>
                  <a:pt x="328969" y="30585"/>
                  <a:pt x="363835" y="30585"/>
                </a:cubicBezTo>
                <a:cubicBezTo>
                  <a:pt x="398701" y="30585"/>
                  <a:pt x="424541" y="48936"/>
                  <a:pt x="424541" y="64840"/>
                </a:cubicBezTo>
                <a:cubicBezTo>
                  <a:pt x="424541" y="80744"/>
                  <a:pt x="398290" y="99096"/>
                  <a:pt x="363835" y="99096"/>
                </a:cubicBezTo>
                <a:close/>
                <a:moveTo>
                  <a:pt x="580822" y="2855"/>
                </a:moveTo>
                <a:cubicBezTo>
                  <a:pt x="572619" y="2855"/>
                  <a:pt x="565644" y="9787"/>
                  <a:pt x="565644" y="17943"/>
                </a:cubicBezTo>
                <a:lnTo>
                  <a:pt x="565644" y="68511"/>
                </a:lnTo>
                <a:lnTo>
                  <a:pt x="483610" y="3670"/>
                </a:lnTo>
                <a:cubicBezTo>
                  <a:pt x="480738" y="1223"/>
                  <a:pt x="476635" y="3262"/>
                  <a:pt x="476635" y="6933"/>
                </a:cubicBezTo>
                <a:lnTo>
                  <a:pt x="476635" y="110922"/>
                </a:lnTo>
                <a:cubicBezTo>
                  <a:pt x="476635" y="119078"/>
                  <a:pt x="483610" y="126010"/>
                  <a:pt x="491813" y="126010"/>
                </a:cubicBezTo>
                <a:cubicBezTo>
                  <a:pt x="500016" y="126010"/>
                  <a:pt x="506991" y="119078"/>
                  <a:pt x="506991" y="110922"/>
                </a:cubicBezTo>
                <a:lnTo>
                  <a:pt x="506991" y="60762"/>
                </a:lnTo>
                <a:lnTo>
                  <a:pt x="589025" y="125603"/>
                </a:lnTo>
                <a:cubicBezTo>
                  <a:pt x="591897" y="128050"/>
                  <a:pt x="596000" y="126010"/>
                  <a:pt x="596000" y="122340"/>
                </a:cubicBezTo>
                <a:lnTo>
                  <a:pt x="596000" y="17943"/>
                </a:lnTo>
                <a:cubicBezTo>
                  <a:pt x="596000" y="9787"/>
                  <a:pt x="589025" y="2855"/>
                  <a:pt x="580822" y="2855"/>
                </a:cubicBezTo>
                <a:close/>
                <a:moveTo>
                  <a:pt x="248983" y="96241"/>
                </a:moveTo>
                <a:lnTo>
                  <a:pt x="197299" y="96241"/>
                </a:lnTo>
                <a:lnTo>
                  <a:pt x="262929" y="9787"/>
                </a:lnTo>
                <a:cubicBezTo>
                  <a:pt x="264980" y="6933"/>
                  <a:pt x="262929" y="2855"/>
                  <a:pt x="259648" y="2855"/>
                </a:cubicBezTo>
                <a:lnTo>
                  <a:pt x="164484" y="2855"/>
                </a:lnTo>
                <a:cubicBezTo>
                  <a:pt x="156281" y="2855"/>
                  <a:pt x="149308" y="9787"/>
                  <a:pt x="149308" y="17943"/>
                </a:cubicBezTo>
                <a:cubicBezTo>
                  <a:pt x="149308" y="26099"/>
                  <a:pt x="156281" y="33032"/>
                  <a:pt x="164484" y="33032"/>
                </a:cubicBezTo>
                <a:lnTo>
                  <a:pt x="207554" y="33032"/>
                </a:lnTo>
                <a:lnTo>
                  <a:pt x="141514" y="119486"/>
                </a:lnTo>
                <a:cubicBezTo>
                  <a:pt x="139463" y="122340"/>
                  <a:pt x="141514" y="126418"/>
                  <a:pt x="145206" y="126418"/>
                </a:cubicBezTo>
                <a:lnTo>
                  <a:pt x="248983" y="126418"/>
                </a:lnTo>
                <a:cubicBezTo>
                  <a:pt x="257186" y="126418"/>
                  <a:pt x="264160" y="119486"/>
                  <a:pt x="264160" y="111330"/>
                </a:cubicBezTo>
                <a:cubicBezTo>
                  <a:pt x="264160" y="103174"/>
                  <a:pt x="257186" y="96241"/>
                  <a:pt x="248983" y="96241"/>
                </a:cubicBezTo>
                <a:close/>
              </a:path>
            </a:pathLst>
          </a:custGeom>
          <a:solidFill>
            <a:schemeClr val="bg1"/>
          </a:solidFill>
          <a:ln w="399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3149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_colored">
    <p:bg>
      <p:bgPr>
        <a:solidFill>
          <a:srgbClr val="004E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9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4692F5B7-B90A-C91A-2047-FDFD8FC7FE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49399" y="6465021"/>
            <a:ext cx="8182800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574792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21549CC-0872-1288-C1D5-BD89CF9450AC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26561D24-BBBB-253A-7A51-A96C57F40E5B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A2B8DFB7-79B0-0439-C360-6941BF32E4D7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9298A01-26D5-77F0-1B44-28C8BBA32B5A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21EA26B0-23BA-7A00-892D-A1F326878E52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A5D3FC7E-9D3D-EB60-5F4A-AB0976EFEC60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068336B-339F-1776-3C0F-78C717AA59C8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48ABCE10-7A7F-1324-4D1D-7AD10D1042B1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FA92F67-A433-8731-5914-B14989A94311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504D71D0-6847-ADE8-467F-77206D5DE761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AB17545C-2653-11B9-6AAD-F2414CA88813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1D454EF4-1099-5940-A5D4-5F82D3172AE1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AB6D7EE-DAF5-E7EF-6D1E-0891469BD32B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E6DA982A-4819-86A4-B3E3-3820BE19C0E0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Прямоугольник: скругленные углы 51">
              <a:extLst>
                <a:ext uri="{FF2B5EF4-FFF2-40B4-BE49-F238E27FC236}">
                  <a16:creationId xmlns:a16="http://schemas.microsoft.com/office/drawing/2014/main" id="{4C7A1397-7A11-591D-AA68-55A9039699E9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02E7F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64568EE7-F81D-84C3-5AE6-8B77C2134C94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0BC0B63B-AFDA-54FE-3829-EC8AA6CFBAEB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2FE7B29-A123-EF1E-09DB-12AADC874FA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60" name="Рисунок 93">
              <a:extLst>
                <a:ext uri="{FF2B5EF4-FFF2-40B4-BE49-F238E27FC236}">
                  <a16:creationId xmlns:a16="http://schemas.microsoft.com/office/drawing/2014/main" id="{AA53B632-DD94-4453-746B-3AC3CCA27D0B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DE6F264-2180-A77B-E487-478DC7F970C2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2B9BFCAF-86CA-1244-E85A-F30E4AC766F2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64">
              <a:extLst>
                <a:ext uri="{FF2B5EF4-FFF2-40B4-BE49-F238E27FC236}">
                  <a16:creationId xmlns:a16="http://schemas.microsoft.com/office/drawing/2014/main" id="{860A63BB-781E-AEA8-4E5D-D35214A49880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65">
              <a:extLst>
                <a:ext uri="{FF2B5EF4-FFF2-40B4-BE49-F238E27FC236}">
                  <a16:creationId xmlns:a16="http://schemas.microsoft.com/office/drawing/2014/main" id="{09CABE96-EC03-3157-B363-C0896B3891CC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EF4B2147-300C-3BFA-81C6-8712BD20BD73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4EE10FC-9DA3-93DA-C40F-EE6AAC1DA6AC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580B6A99-E717-2740-36C4-A72DCF75745A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Прямоугольник: скругленные углы 16">
              <a:extLst>
                <a:ext uri="{FF2B5EF4-FFF2-40B4-BE49-F238E27FC236}">
                  <a16:creationId xmlns:a16="http://schemas.microsoft.com/office/drawing/2014/main" id="{8CC18F95-EA8B-20E0-9AED-F6279027B331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D236EB0-0368-AF7A-C5FA-BA1C74876D58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</p:grp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E69F2E9-9C91-47CB-104F-08223C29A8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4"/>
            <a:ext cx="10910888" cy="3588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Сформулируй заголовок слайда в 1 строку</a:t>
            </a:r>
          </a:p>
        </p:txBody>
      </p:sp>
      <p:sp>
        <p:nvSpPr>
          <p:cNvPr id="7" name="Текст 10">
            <a:extLst>
              <a:ext uri="{FF2B5EF4-FFF2-40B4-BE49-F238E27FC236}">
                <a16:creationId xmlns:a16="http://schemas.microsoft.com/office/drawing/2014/main" id="{E9EE4166-D061-8EE2-C4D5-FEB88C0F4E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763" y="833072"/>
            <a:ext cx="10926762" cy="358858"/>
          </a:xfrm>
        </p:spPr>
        <p:txBody>
          <a:bodyPr/>
          <a:lstStyle>
            <a:lvl1pPr>
              <a:lnSpc>
                <a:spcPct val="9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Сформулируй подзаголовок в 1–2 строки</a:t>
            </a:r>
          </a:p>
        </p:txBody>
      </p:sp>
      <p:sp>
        <p:nvSpPr>
          <p:cNvPr id="11" name="Рисунок 1">
            <a:extLst>
              <a:ext uri="{FF2B5EF4-FFF2-40B4-BE49-F238E27FC236}">
                <a16:creationId xmlns:a16="http://schemas.microsoft.com/office/drawing/2014/main" id="{D554BF92-EE8A-725F-36CC-808010211175}"/>
              </a:ext>
            </a:extLst>
          </p:cNvPr>
          <p:cNvSpPr/>
          <p:nvPr userDrawn="1"/>
        </p:nvSpPr>
        <p:spPr>
          <a:xfrm>
            <a:off x="640541" y="6472839"/>
            <a:ext cx="596000" cy="128865"/>
          </a:xfrm>
          <a:custGeom>
            <a:avLst/>
            <a:gdLst>
              <a:gd name="connsiteX0" fmla="*/ 64809 w 596000"/>
              <a:gd name="connsiteY0" fmla="*/ 0 h 128865"/>
              <a:gd name="connsiteX1" fmla="*/ 0 w 596000"/>
              <a:gd name="connsiteY1" fmla="*/ 64433 h 128865"/>
              <a:gd name="connsiteX2" fmla="*/ 64809 w 596000"/>
              <a:gd name="connsiteY2" fmla="*/ 128865 h 128865"/>
              <a:gd name="connsiteX3" fmla="*/ 129619 w 596000"/>
              <a:gd name="connsiteY3" fmla="*/ 64433 h 128865"/>
              <a:gd name="connsiteX4" fmla="*/ 64809 w 596000"/>
              <a:gd name="connsiteY4" fmla="*/ 0 h 128865"/>
              <a:gd name="connsiteX5" fmla="*/ 64809 w 596000"/>
              <a:gd name="connsiteY5" fmla="*/ 99096 h 128865"/>
              <a:gd name="connsiteX6" fmla="*/ 29944 w 596000"/>
              <a:gd name="connsiteY6" fmla="*/ 64433 h 128865"/>
              <a:gd name="connsiteX7" fmla="*/ 64809 w 596000"/>
              <a:gd name="connsiteY7" fmla="*/ 29769 h 128865"/>
              <a:gd name="connsiteX8" fmla="*/ 99675 w 596000"/>
              <a:gd name="connsiteY8" fmla="*/ 64433 h 128865"/>
              <a:gd name="connsiteX9" fmla="*/ 64809 w 596000"/>
              <a:gd name="connsiteY9" fmla="*/ 99096 h 128865"/>
              <a:gd name="connsiteX10" fmla="*/ 363835 w 596000"/>
              <a:gd name="connsiteY10" fmla="*/ 0 h 128865"/>
              <a:gd name="connsiteX11" fmla="*/ 272774 w 596000"/>
              <a:gd name="connsiteY11" fmla="*/ 64433 h 128865"/>
              <a:gd name="connsiteX12" fmla="*/ 363835 w 596000"/>
              <a:gd name="connsiteY12" fmla="*/ 128865 h 128865"/>
              <a:gd name="connsiteX13" fmla="*/ 454897 w 596000"/>
              <a:gd name="connsiteY13" fmla="*/ 64433 h 128865"/>
              <a:gd name="connsiteX14" fmla="*/ 363835 w 596000"/>
              <a:gd name="connsiteY14" fmla="*/ 0 h 128865"/>
              <a:gd name="connsiteX15" fmla="*/ 363835 w 596000"/>
              <a:gd name="connsiteY15" fmla="*/ 99096 h 128865"/>
              <a:gd name="connsiteX16" fmla="*/ 303127 w 596000"/>
              <a:gd name="connsiteY16" fmla="*/ 64840 h 128865"/>
              <a:gd name="connsiteX17" fmla="*/ 363835 w 596000"/>
              <a:gd name="connsiteY17" fmla="*/ 30585 h 128865"/>
              <a:gd name="connsiteX18" fmla="*/ 424541 w 596000"/>
              <a:gd name="connsiteY18" fmla="*/ 64840 h 128865"/>
              <a:gd name="connsiteX19" fmla="*/ 363835 w 596000"/>
              <a:gd name="connsiteY19" fmla="*/ 99096 h 128865"/>
              <a:gd name="connsiteX20" fmla="*/ 580822 w 596000"/>
              <a:gd name="connsiteY20" fmla="*/ 2855 h 128865"/>
              <a:gd name="connsiteX21" fmla="*/ 565644 w 596000"/>
              <a:gd name="connsiteY21" fmla="*/ 17943 h 128865"/>
              <a:gd name="connsiteX22" fmla="*/ 565644 w 596000"/>
              <a:gd name="connsiteY22" fmla="*/ 68511 h 128865"/>
              <a:gd name="connsiteX23" fmla="*/ 483610 w 596000"/>
              <a:gd name="connsiteY23" fmla="*/ 3670 h 128865"/>
              <a:gd name="connsiteX24" fmla="*/ 476635 w 596000"/>
              <a:gd name="connsiteY24" fmla="*/ 6933 h 128865"/>
              <a:gd name="connsiteX25" fmla="*/ 476635 w 596000"/>
              <a:gd name="connsiteY25" fmla="*/ 110922 h 128865"/>
              <a:gd name="connsiteX26" fmla="*/ 491813 w 596000"/>
              <a:gd name="connsiteY26" fmla="*/ 126010 h 128865"/>
              <a:gd name="connsiteX27" fmla="*/ 506991 w 596000"/>
              <a:gd name="connsiteY27" fmla="*/ 110922 h 128865"/>
              <a:gd name="connsiteX28" fmla="*/ 506991 w 596000"/>
              <a:gd name="connsiteY28" fmla="*/ 60762 h 128865"/>
              <a:gd name="connsiteX29" fmla="*/ 589025 w 596000"/>
              <a:gd name="connsiteY29" fmla="*/ 125603 h 128865"/>
              <a:gd name="connsiteX30" fmla="*/ 596000 w 596000"/>
              <a:gd name="connsiteY30" fmla="*/ 122340 h 128865"/>
              <a:gd name="connsiteX31" fmla="*/ 596000 w 596000"/>
              <a:gd name="connsiteY31" fmla="*/ 17943 h 128865"/>
              <a:gd name="connsiteX32" fmla="*/ 580822 w 596000"/>
              <a:gd name="connsiteY32" fmla="*/ 2855 h 128865"/>
              <a:gd name="connsiteX33" fmla="*/ 248983 w 596000"/>
              <a:gd name="connsiteY33" fmla="*/ 96241 h 128865"/>
              <a:gd name="connsiteX34" fmla="*/ 197299 w 596000"/>
              <a:gd name="connsiteY34" fmla="*/ 96241 h 128865"/>
              <a:gd name="connsiteX35" fmla="*/ 262929 w 596000"/>
              <a:gd name="connsiteY35" fmla="*/ 9787 h 128865"/>
              <a:gd name="connsiteX36" fmla="*/ 259648 w 596000"/>
              <a:gd name="connsiteY36" fmla="*/ 2855 h 128865"/>
              <a:gd name="connsiteX37" fmla="*/ 164484 w 596000"/>
              <a:gd name="connsiteY37" fmla="*/ 2855 h 128865"/>
              <a:gd name="connsiteX38" fmla="*/ 149308 w 596000"/>
              <a:gd name="connsiteY38" fmla="*/ 17943 h 128865"/>
              <a:gd name="connsiteX39" fmla="*/ 164484 w 596000"/>
              <a:gd name="connsiteY39" fmla="*/ 33032 h 128865"/>
              <a:gd name="connsiteX40" fmla="*/ 207554 w 596000"/>
              <a:gd name="connsiteY40" fmla="*/ 33032 h 128865"/>
              <a:gd name="connsiteX41" fmla="*/ 141514 w 596000"/>
              <a:gd name="connsiteY41" fmla="*/ 119486 h 128865"/>
              <a:gd name="connsiteX42" fmla="*/ 145206 w 596000"/>
              <a:gd name="connsiteY42" fmla="*/ 126418 h 128865"/>
              <a:gd name="connsiteX43" fmla="*/ 248983 w 596000"/>
              <a:gd name="connsiteY43" fmla="*/ 126418 h 128865"/>
              <a:gd name="connsiteX44" fmla="*/ 264160 w 596000"/>
              <a:gd name="connsiteY44" fmla="*/ 111330 h 128865"/>
              <a:gd name="connsiteX45" fmla="*/ 248983 w 596000"/>
              <a:gd name="connsiteY45" fmla="*/ 96241 h 128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96000" h="128865">
                <a:moveTo>
                  <a:pt x="64809" y="0"/>
                </a:moveTo>
                <a:cubicBezTo>
                  <a:pt x="29123" y="0"/>
                  <a:pt x="0" y="28954"/>
                  <a:pt x="0" y="64433"/>
                </a:cubicBezTo>
                <a:cubicBezTo>
                  <a:pt x="0" y="99911"/>
                  <a:pt x="29123" y="128865"/>
                  <a:pt x="64809" y="128865"/>
                </a:cubicBezTo>
                <a:cubicBezTo>
                  <a:pt x="100906" y="128865"/>
                  <a:pt x="129619" y="99911"/>
                  <a:pt x="129619" y="64433"/>
                </a:cubicBezTo>
                <a:cubicBezTo>
                  <a:pt x="129619" y="28954"/>
                  <a:pt x="100906" y="0"/>
                  <a:pt x="64809" y="0"/>
                </a:cubicBezTo>
                <a:close/>
                <a:moveTo>
                  <a:pt x="64809" y="99096"/>
                </a:moveTo>
                <a:cubicBezTo>
                  <a:pt x="45531" y="99096"/>
                  <a:pt x="29944" y="83599"/>
                  <a:pt x="29944" y="64433"/>
                </a:cubicBezTo>
                <a:cubicBezTo>
                  <a:pt x="29944" y="45266"/>
                  <a:pt x="45531" y="29769"/>
                  <a:pt x="64809" y="29769"/>
                </a:cubicBezTo>
                <a:cubicBezTo>
                  <a:pt x="84088" y="29769"/>
                  <a:pt x="99675" y="45266"/>
                  <a:pt x="99675" y="64433"/>
                </a:cubicBezTo>
                <a:cubicBezTo>
                  <a:pt x="99675" y="83599"/>
                  <a:pt x="84088" y="99096"/>
                  <a:pt x="64809" y="99096"/>
                </a:cubicBezTo>
                <a:close/>
                <a:moveTo>
                  <a:pt x="363835" y="0"/>
                </a:moveTo>
                <a:cubicBezTo>
                  <a:pt x="313382" y="0"/>
                  <a:pt x="272774" y="28954"/>
                  <a:pt x="272774" y="64433"/>
                </a:cubicBezTo>
                <a:cubicBezTo>
                  <a:pt x="272774" y="99911"/>
                  <a:pt x="313382" y="128865"/>
                  <a:pt x="363835" y="128865"/>
                </a:cubicBezTo>
                <a:cubicBezTo>
                  <a:pt x="414288" y="128865"/>
                  <a:pt x="454897" y="99911"/>
                  <a:pt x="454897" y="64433"/>
                </a:cubicBezTo>
                <a:cubicBezTo>
                  <a:pt x="454897" y="28954"/>
                  <a:pt x="413878" y="0"/>
                  <a:pt x="363835" y="0"/>
                </a:cubicBezTo>
                <a:close/>
                <a:moveTo>
                  <a:pt x="363835" y="99096"/>
                </a:moveTo>
                <a:cubicBezTo>
                  <a:pt x="328969" y="99096"/>
                  <a:pt x="303127" y="80744"/>
                  <a:pt x="303127" y="64840"/>
                </a:cubicBezTo>
                <a:cubicBezTo>
                  <a:pt x="303127" y="48936"/>
                  <a:pt x="328969" y="30585"/>
                  <a:pt x="363835" y="30585"/>
                </a:cubicBezTo>
                <a:cubicBezTo>
                  <a:pt x="398701" y="30585"/>
                  <a:pt x="424541" y="48936"/>
                  <a:pt x="424541" y="64840"/>
                </a:cubicBezTo>
                <a:cubicBezTo>
                  <a:pt x="424541" y="80744"/>
                  <a:pt x="398290" y="99096"/>
                  <a:pt x="363835" y="99096"/>
                </a:cubicBezTo>
                <a:close/>
                <a:moveTo>
                  <a:pt x="580822" y="2855"/>
                </a:moveTo>
                <a:cubicBezTo>
                  <a:pt x="572619" y="2855"/>
                  <a:pt x="565644" y="9787"/>
                  <a:pt x="565644" y="17943"/>
                </a:cubicBezTo>
                <a:lnTo>
                  <a:pt x="565644" y="68511"/>
                </a:lnTo>
                <a:lnTo>
                  <a:pt x="483610" y="3670"/>
                </a:lnTo>
                <a:cubicBezTo>
                  <a:pt x="480738" y="1223"/>
                  <a:pt x="476635" y="3262"/>
                  <a:pt x="476635" y="6933"/>
                </a:cubicBezTo>
                <a:lnTo>
                  <a:pt x="476635" y="110922"/>
                </a:lnTo>
                <a:cubicBezTo>
                  <a:pt x="476635" y="119078"/>
                  <a:pt x="483610" y="126010"/>
                  <a:pt x="491813" y="126010"/>
                </a:cubicBezTo>
                <a:cubicBezTo>
                  <a:pt x="500016" y="126010"/>
                  <a:pt x="506991" y="119078"/>
                  <a:pt x="506991" y="110922"/>
                </a:cubicBezTo>
                <a:lnTo>
                  <a:pt x="506991" y="60762"/>
                </a:lnTo>
                <a:lnTo>
                  <a:pt x="589025" y="125603"/>
                </a:lnTo>
                <a:cubicBezTo>
                  <a:pt x="591897" y="128050"/>
                  <a:pt x="596000" y="126010"/>
                  <a:pt x="596000" y="122340"/>
                </a:cubicBezTo>
                <a:lnTo>
                  <a:pt x="596000" y="17943"/>
                </a:lnTo>
                <a:cubicBezTo>
                  <a:pt x="596000" y="9787"/>
                  <a:pt x="589025" y="2855"/>
                  <a:pt x="580822" y="2855"/>
                </a:cubicBezTo>
                <a:close/>
                <a:moveTo>
                  <a:pt x="248983" y="96241"/>
                </a:moveTo>
                <a:lnTo>
                  <a:pt x="197299" y="96241"/>
                </a:lnTo>
                <a:lnTo>
                  <a:pt x="262929" y="9787"/>
                </a:lnTo>
                <a:cubicBezTo>
                  <a:pt x="264980" y="6933"/>
                  <a:pt x="262929" y="2855"/>
                  <a:pt x="259648" y="2855"/>
                </a:cubicBezTo>
                <a:lnTo>
                  <a:pt x="164484" y="2855"/>
                </a:lnTo>
                <a:cubicBezTo>
                  <a:pt x="156281" y="2855"/>
                  <a:pt x="149308" y="9787"/>
                  <a:pt x="149308" y="17943"/>
                </a:cubicBezTo>
                <a:cubicBezTo>
                  <a:pt x="149308" y="26099"/>
                  <a:pt x="156281" y="33032"/>
                  <a:pt x="164484" y="33032"/>
                </a:cubicBezTo>
                <a:lnTo>
                  <a:pt x="207554" y="33032"/>
                </a:lnTo>
                <a:lnTo>
                  <a:pt x="141514" y="119486"/>
                </a:lnTo>
                <a:cubicBezTo>
                  <a:pt x="139463" y="122340"/>
                  <a:pt x="141514" y="126418"/>
                  <a:pt x="145206" y="126418"/>
                </a:cubicBezTo>
                <a:lnTo>
                  <a:pt x="248983" y="126418"/>
                </a:lnTo>
                <a:cubicBezTo>
                  <a:pt x="257186" y="126418"/>
                  <a:pt x="264160" y="119486"/>
                  <a:pt x="264160" y="111330"/>
                </a:cubicBezTo>
                <a:cubicBezTo>
                  <a:pt x="264160" y="103174"/>
                  <a:pt x="257186" y="96241"/>
                  <a:pt x="248983" y="96241"/>
                </a:cubicBezTo>
                <a:close/>
              </a:path>
            </a:pathLst>
          </a:custGeom>
          <a:solidFill>
            <a:schemeClr val="bg1"/>
          </a:solidFill>
          <a:ln w="399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5971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_title_colored">
    <p:bg>
      <p:bgPr>
        <a:solidFill>
          <a:srgbClr val="004E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3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4692F5B7-B90A-C91A-2047-FDFD8FC7FE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49399" y="6465021"/>
            <a:ext cx="8182800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574792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21549CC-0872-1288-C1D5-BD89CF9450AC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26561D24-BBBB-253A-7A51-A96C57F40E5B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A2B8DFB7-79B0-0439-C360-6941BF32E4D7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9298A01-26D5-77F0-1B44-28C8BBA32B5A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21EA26B0-23BA-7A00-892D-A1F326878E52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A5D3FC7E-9D3D-EB60-5F4A-AB0976EFEC60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068336B-339F-1776-3C0F-78C717AA59C8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48ABCE10-7A7F-1324-4D1D-7AD10D1042B1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FA92F67-A433-8731-5914-B14989A94311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504D71D0-6847-ADE8-467F-77206D5DE761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AB17545C-2653-11B9-6AAD-F2414CA88813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1D454EF4-1099-5940-A5D4-5F82D3172AE1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AB6D7EE-DAF5-E7EF-6D1E-0891469BD32B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E6DA982A-4819-86A4-B3E3-3820BE19C0E0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Прямоугольник: скругленные углы 51">
              <a:extLst>
                <a:ext uri="{FF2B5EF4-FFF2-40B4-BE49-F238E27FC236}">
                  <a16:creationId xmlns:a16="http://schemas.microsoft.com/office/drawing/2014/main" id="{4C7A1397-7A11-591D-AA68-55A9039699E9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02E7F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64568EE7-F81D-84C3-5AE6-8B77C2134C94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0BC0B63B-AFDA-54FE-3829-EC8AA6CFBAEB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2FE7B29-A123-EF1E-09DB-12AADC874FA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60" name="Рисунок 93">
              <a:extLst>
                <a:ext uri="{FF2B5EF4-FFF2-40B4-BE49-F238E27FC236}">
                  <a16:creationId xmlns:a16="http://schemas.microsoft.com/office/drawing/2014/main" id="{AA53B632-DD94-4453-746B-3AC3CCA27D0B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DE6F264-2180-A77B-E487-478DC7F970C2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2B9BFCAF-86CA-1244-E85A-F30E4AC766F2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64">
              <a:extLst>
                <a:ext uri="{FF2B5EF4-FFF2-40B4-BE49-F238E27FC236}">
                  <a16:creationId xmlns:a16="http://schemas.microsoft.com/office/drawing/2014/main" id="{860A63BB-781E-AEA8-4E5D-D35214A49880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65">
              <a:extLst>
                <a:ext uri="{FF2B5EF4-FFF2-40B4-BE49-F238E27FC236}">
                  <a16:creationId xmlns:a16="http://schemas.microsoft.com/office/drawing/2014/main" id="{09CABE96-EC03-3157-B363-C0896B3891CC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EF4B2147-300C-3BFA-81C6-8712BD20BD73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4EE10FC-9DA3-93DA-C40F-EE6AAC1DA6AC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580B6A99-E717-2740-36C4-A72DCF75745A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Прямоугольник: скругленные углы 16">
              <a:extLst>
                <a:ext uri="{FF2B5EF4-FFF2-40B4-BE49-F238E27FC236}">
                  <a16:creationId xmlns:a16="http://schemas.microsoft.com/office/drawing/2014/main" id="{8CC18F95-EA8B-20E0-9AED-F6279027B331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D236EB0-0368-AF7A-C5FA-BA1C74876D58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</p:grpSp>
      <p:sp>
        <p:nvSpPr>
          <p:cNvPr id="5" name="Объект 2">
            <a:extLst>
              <a:ext uri="{FF2B5EF4-FFF2-40B4-BE49-F238E27FC236}">
                <a16:creationId xmlns:a16="http://schemas.microsoft.com/office/drawing/2014/main" id="{9273FEED-185C-3EDE-5702-91BFF3386C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4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A9C77C2E-E1B8-8A5D-636C-B20627EF04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99" y="420493"/>
            <a:ext cx="10910888" cy="783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2000"/>
              </a:lnSpc>
              <a:defRPr sz="4400" spc="-30" baseline="0">
                <a:solidFill>
                  <a:schemeClr val="bg2"/>
                </a:solidFill>
              </a:defRPr>
            </a:lvl1pPr>
          </a:lstStyle>
          <a:p>
            <a:r>
              <a:rPr lang="ru-RU"/>
              <a:t>Заголовок слайда в 1 строку</a:t>
            </a:r>
          </a:p>
        </p:txBody>
      </p:sp>
      <p:sp>
        <p:nvSpPr>
          <p:cNvPr id="11" name="Рисунок 1">
            <a:extLst>
              <a:ext uri="{FF2B5EF4-FFF2-40B4-BE49-F238E27FC236}">
                <a16:creationId xmlns:a16="http://schemas.microsoft.com/office/drawing/2014/main" id="{ED08377C-4855-A16E-1C99-76608FF709F7}"/>
              </a:ext>
            </a:extLst>
          </p:cNvPr>
          <p:cNvSpPr/>
          <p:nvPr userDrawn="1"/>
        </p:nvSpPr>
        <p:spPr>
          <a:xfrm>
            <a:off x="640541" y="6472839"/>
            <a:ext cx="596000" cy="128865"/>
          </a:xfrm>
          <a:custGeom>
            <a:avLst/>
            <a:gdLst>
              <a:gd name="connsiteX0" fmla="*/ 64809 w 596000"/>
              <a:gd name="connsiteY0" fmla="*/ 0 h 128865"/>
              <a:gd name="connsiteX1" fmla="*/ 0 w 596000"/>
              <a:gd name="connsiteY1" fmla="*/ 64433 h 128865"/>
              <a:gd name="connsiteX2" fmla="*/ 64809 w 596000"/>
              <a:gd name="connsiteY2" fmla="*/ 128865 h 128865"/>
              <a:gd name="connsiteX3" fmla="*/ 129619 w 596000"/>
              <a:gd name="connsiteY3" fmla="*/ 64433 h 128865"/>
              <a:gd name="connsiteX4" fmla="*/ 64809 w 596000"/>
              <a:gd name="connsiteY4" fmla="*/ 0 h 128865"/>
              <a:gd name="connsiteX5" fmla="*/ 64809 w 596000"/>
              <a:gd name="connsiteY5" fmla="*/ 99096 h 128865"/>
              <a:gd name="connsiteX6" fmla="*/ 29944 w 596000"/>
              <a:gd name="connsiteY6" fmla="*/ 64433 h 128865"/>
              <a:gd name="connsiteX7" fmla="*/ 64809 w 596000"/>
              <a:gd name="connsiteY7" fmla="*/ 29769 h 128865"/>
              <a:gd name="connsiteX8" fmla="*/ 99675 w 596000"/>
              <a:gd name="connsiteY8" fmla="*/ 64433 h 128865"/>
              <a:gd name="connsiteX9" fmla="*/ 64809 w 596000"/>
              <a:gd name="connsiteY9" fmla="*/ 99096 h 128865"/>
              <a:gd name="connsiteX10" fmla="*/ 363835 w 596000"/>
              <a:gd name="connsiteY10" fmla="*/ 0 h 128865"/>
              <a:gd name="connsiteX11" fmla="*/ 272774 w 596000"/>
              <a:gd name="connsiteY11" fmla="*/ 64433 h 128865"/>
              <a:gd name="connsiteX12" fmla="*/ 363835 w 596000"/>
              <a:gd name="connsiteY12" fmla="*/ 128865 h 128865"/>
              <a:gd name="connsiteX13" fmla="*/ 454897 w 596000"/>
              <a:gd name="connsiteY13" fmla="*/ 64433 h 128865"/>
              <a:gd name="connsiteX14" fmla="*/ 363835 w 596000"/>
              <a:gd name="connsiteY14" fmla="*/ 0 h 128865"/>
              <a:gd name="connsiteX15" fmla="*/ 363835 w 596000"/>
              <a:gd name="connsiteY15" fmla="*/ 99096 h 128865"/>
              <a:gd name="connsiteX16" fmla="*/ 303127 w 596000"/>
              <a:gd name="connsiteY16" fmla="*/ 64840 h 128865"/>
              <a:gd name="connsiteX17" fmla="*/ 363835 w 596000"/>
              <a:gd name="connsiteY17" fmla="*/ 30585 h 128865"/>
              <a:gd name="connsiteX18" fmla="*/ 424541 w 596000"/>
              <a:gd name="connsiteY18" fmla="*/ 64840 h 128865"/>
              <a:gd name="connsiteX19" fmla="*/ 363835 w 596000"/>
              <a:gd name="connsiteY19" fmla="*/ 99096 h 128865"/>
              <a:gd name="connsiteX20" fmla="*/ 580822 w 596000"/>
              <a:gd name="connsiteY20" fmla="*/ 2855 h 128865"/>
              <a:gd name="connsiteX21" fmla="*/ 565644 w 596000"/>
              <a:gd name="connsiteY21" fmla="*/ 17943 h 128865"/>
              <a:gd name="connsiteX22" fmla="*/ 565644 w 596000"/>
              <a:gd name="connsiteY22" fmla="*/ 68511 h 128865"/>
              <a:gd name="connsiteX23" fmla="*/ 483610 w 596000"/>
              <a:gd name="connsiteY23" fmla="*/ 3670 h 128865"/>
              <a:gd name="connsiteX24" fmla="*/ 476635 w 596000"/>
              <a:gd name="connsiteY24" fmla="*/ 6933 h 128865"/>
              <a:gd name="connsiteX25" fmla="*/ 476635 w 596000"/>
              <a:gd name="connsiteY25" fmla="*/ 110922 h 128865"/>
              <a:gd name="connsiteX26" fmla="*/ 491813 w 596000"/>
              <a:gd name="connsiteY26" fmla="*/ 126010 h 128865"/>
              <a:gd name="connsiteX27" fmla="*/ 506991 w 596000"/>
              <a:gd name="connsiteY27" fmla="*/ 110922 h 128865"/>
              <a:gd name="connsiteX28" fmla="*/ 506991 w 596000"/>
              <a:gd name="connsiteY28" fmla="*/ 60762 h 128865"/>
              <a:gd name="connsiteX29" fmla="*/ 589025 w 596000"/>
              <a:gd name="connsiteY29" fmla="*/ 125603 h 128865"/>
              <a:gd name="connsiteX30" fmla="*/ 596000 w 596000"/>
              <a:gd name="connsiteY30" fmla="*/ 122340 h 128865"/>
              <a:gd name="connsiteX31" fmla="*/ 596000 w 596000"/>
              <a:gd name="connsiteY31" fmla="*/ 17943 h 128865"/>
              <a:gd name="connsiteX32" fmla="*/ 580822 w 596000"/>
              <a:gd name="connsiteY32" fmla="*/ 2855 h 128865"/>
              <a:gd name="connsiteX33" fmla="*/ 248983 w 596000"/>
              <a:gd name="connsiteY33" fmla="*/ 96241 h 128865"/>
              <a:gd name="connsiteX34" fmla="*/ 197299 w 596000"/>
              <a:gd name="connsiteY34" fmla="*/ 96241 h 128865"/>
              <a:gd name="connsiteX35" fmla="*/ 262929 w 596000"/>
              <a:gd name="connsiteY35" fmla="*/ 9787 h 128865"/>
              <a:gd name="connsiteX36" fmla="*/ 259648 w 596000"/>
              <a:gd name="connsiteY36" fmla="*/ 2855 h 128865"/>
              <a:gd name="connsiteX37" fmla="*/ 164484 w 596000"/>
              <a:gd name="connsiteY37" fmla="*/ 2855 h 128865"/>
              <a:gd name="connsiteX38" fmla="*/ 149308 w 596000"/>
              <a:gd name="connsiteY38" fmla="*/ 17943 h 128865"/>
              <a:gd name="connsiteX39" fmla="*/ 164484 w 596000"/>
              <a:gd name="connsiteY39" fmla="*/ 33032 h 128865"/>
              <a:gd name="connsiteX40" fmla="*/ 207554 w 596000"/>
              <a:gd name="connsiteY40" fmla="*/ 33032 h 128865"/>
              <a:gd name="connsiteX41" fmla="*/ 141514 w 596000"/>
              <a:gd name="connsiteY41" fmla="*/ 119486 h 128865"/>
              <a:gd name="connsiteX42" fmla="*/ 145206 w 596000"/>
              <a:gd name="connsiteY42" fmla="*/ 126418 h 128865"/>
              <a:gd name="connsiteX43" fmla="*/ 248983 w 596000"/>
              <a:gd name="connsiteY43" fmla="*/ 126418 h 128865"/>
              <a:gd name="connsiteX44" fmla="*/ 264160 w 596000"/>
              <a:gd name="connsiteY44" fmla="*/ 111330 h 128865"/>
              <a:gd name="connsiteX45" fmla="*/ 248983 w 596000"/>
              <a:gd name="connsiteY45" fmla="*/ 96241 h 128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96000" h="128865">
                <a:moveTo>
                  <a:pt x="64809" y="0"/>
                </a:moveTo>
                <a:cubicBezTo>
                  <a:pt x="29123" y="0"/>
                  <a:pt x="0" y="28954"/>
                  <a:pt x="0" y="64433"/>
                </a:cubicBezTo>
                <a:cubicBezTo>
                  <a:pt x="0" y="99911"/>
                  <a:pt x="29123" y="128865"/>
                  <a:pt x="64809" y="128865"/>
                </a:cubicBezTo>
                <a:cubicBezTo>
                  <a:pt x="100906" y="128865"/>
                  <a:pt x="129619" y="99911"/>
                  <a:pt x="129619" y="64433"/>
                </a:cubicBezTo>
                <a:cubicBezTo>
                  <a:pt x="129619" y="28954"/>
                  <a:pt x="100906" y="0"/>
                  <a:pt x="64809" y="0"/>
                </a:cubicBezTo>
                <a:close/>
                <a:moveTo>
                  <a:pt x="64809" y="99096"/>
                </a:moveTo>
                <a:cubicBezTo>
                  <a:pt x="45531" y="99096"/>
                  <a:pt x="29944" y="83599"/>
                  <a:pt x="29944" y="64433"/>
                </a:cubicBezTo>
                <a:cubicBezTo>
                  <a:pt x="29944" y="45266"/>
                  <a:pt x="45531" y="29769"/>
                  <a:pt x="64809" y="29769"/>
                </a:cubicBezTo>
                <a:cubicBezTo>
                  <a:pt x="84088" y="29769"/>
                  <a:pt x="99675" y="45266"/>
                  <a:pt x="99675" y="64433"/>
                </a:cubicBezTo>
                <a:cubicBezTo>
                  <a:pt x="99675" y="83599"/>
                  <a:pt x="84088" y="99096"/>
                  <a:pt x="64809" y="99096"/>
                </a:cubicBezTo>
                <a:close/>
                <a:moveTo>
                  <a:pt x="363835" y="0"/>
                </a:moveTo>
                <a:cubicBezTo>
                  <a:pt x="313382" y="0"/>
                  <a:pt x="272774" y="28954"/>
                  <a:pt x="272774" y="64433"/>
                </a:cubicBezTo>
                <a:cubicBezTo>
                  <a:pt x="272774" y="99911"/>
                  <a:pt x="313382" y="128865"/>
                  <a:pt x="363835" y="128865"/>
                </a:cubicBezTo>
                <a:cubicBezTo>
                  <a:pt x="414288" y="128865"/>
                  <a:pt x="454897" y="99911"/>
                  <a:pt x="454897" y="64433"/>
                </a:cubicBezTo>
                <a:cubicBezTo>
                  <a:pt x="454897" y="28954"/>
                  <a:pt x="413878" y="0"/>
                  <a:pt x="363835" y="0"/>
                </a:cubicBezTo>
                <a:close/>
                <a:moveTo>
                  <a:pt x="363835" y="99096"/>
                </a:moveTo>
                <a:cubicBezTo>
                  <a:pt x="328969" y="99096"/>
                  <a:pt x="303127" y="80744"/>
                  <a:pt x="303127" y="64840"/>
                </a:cubicBezTo>
                <a:cubicBezTo>
                  <a:pt x="303127" y="48936"/>
                  <a:pt x="328969" y="30585"/>
                  <a:pt x="363835" y="30585"/>
                </a:cubicBezTo>
                <a:cubicBezTo>
                  <a:pt x="398701" y="30585"/>
                  <a:pt x="424541" y="48936"/>
                  <a:pt x="424541" y="64840"/>
                </a:cubicBezTo>
                <a:cubicBezTo>
                  <a:pt x="424541" y="80744"/>
                  <a:pt x="398290" y="99096"/>
                  <a:pt x="363835" y="99096"/>
                </a:cubicBezTo>
                <a:close/>
                <a:moveTo>
                  <a:pt x="580822" y="2855"/>
                </a:moveTo>
                <a:cubicBezTo>
                  <a:pt x="572619" y="2855"/>
                  <a:pt x="565644" y="9787"/>
                  <a:pt x="565644" y="17943"/>
                </a:cubicBezTo>
                <a:lnTo>
                  <a:pt x="565644" y="68511"/>
                </a:lnTo>
                <a:lnTo>
                  <a:pt x="483610" y="3670"/>
                </a:lnTo>
                <a:cubicBezTo>
                  <a:pt x="480738" y="1223"/>
                  <a:pt x="476635" y="3262"/>
                  <a:pt x="476635" y="6933"/>
                </a:cubicBezTo>
                <a:lnTo>
                  <a:pt x="476635" y="110922"/>
                </a:lnTo>
                <a:cubicBezTo>
                  <a:pt x="476635" y="119078"/>
                  <a:pt x="483610" y="126010"/>
                  <a:pt x="491813" y="126010"/>
                </a:cubicBezTo>
                <a:cubicBezTo>
                  <a:pt x="500016" y="126010"/>
                  <a:pt x="506991" y="119078"/>
                  <a:pt x="506991" y="110922"/>
                </a:cubicBezTo>
                <a:lnTo>
                  <a:pt x="506991" y="60762"/>
                </a:lnTo>
                <a:lnTo>
                  <a:pt x="589025" y="125603"/>
                </a:lnTo>
                <a:cubicBezTo>
                  <a:pt x="591897" y="128050"/>
                  <a:pt x="596000" y="126010"/>
                  <a:pt x="596000" y="122340"/>
                </a:cubicBezTo>
                <a:lnTo>
                  <a:pt x="596000" y="17943"/>
                </a:lnTo>
                <a:cubicBezTo>
                  <a:pt x="596000" y="9787"/>
                  <a:pt x="589025" y="2855"/>
                  <a:pt x="580822" y="2855"/>
                </a:cubicBezTo>
                <a:close/>
                <a:moveTo>
                  <a:pt x="248983" y="96241"/>
                </a:moveTo>
                <a:lnTo>
                  <a:pt x="197299" y="96241"/>
                </a:lnTo>
                <a:lnTo>
                  <a:pt x="262929" y="9787"/>
                </a:lnTo>
                <a:cubicBezTo>
                  <a:pt x="264980" y="6933"/>
                  <a:pt x="262929" y="2855"/>
                  <a:pt x="259648" y="2855"/>
                </a:cubicBezTo>
                <a:lnTo>
                  <a:pt x="164484" y="2855"/>
                </a:lnTo>
                <a:cubicBezTo>
                  <a:pt x="156281" y="2855"/>
                  <a:pt x="149308" y="9787"/>
                  <a:pt x="149308" y="17943"/>
                </a:cubicBezTo>
                <a:cubicBezTo>
                  <a:pt x="149308" y="26099"/>
                  <a:pt x="156281" y="33032"/>
                  <a:pt x="164484" y="33032"/>
                </a:cubicBezTo>
                <a:lnTo>
                  <a:pt x="207554" y="33032"/>
                </a:lnTo>
                <a:lnTo>
                  <a:pt x="141514" y="119486"/>
                </a:lnTo>
                <a:cubicBezTo>
                  <a:pt x="139463" y="122340"/>
                  <a:pt x="141514" y="126418"/>
                  <a:pt x="145206" y="126418"/>
                </a:cubicBezTo>
                <a:lnTo>
                  <a:pt x="248983" y="126418"/>
                </a:lnTo>
                <a:cubicBezTo>
                  <a:pt x="257186" y="126418"/>
                  <a:pt x="264160" y="119486"/>
                  <a:pt x="264160" y="111330"/>
                </a:cubicBezTo>
                <a:cubicBezTo>
                  <a:pt x="264160" y="103174"/>
                  <a:pt x="257186" y="96241"/>
                  <a:pt x="248983" y="96241"/>
                </a:cubicBezTo>
                <a:close/>
              </a:path>
            </a:pathLst>
          </a:custGeom>
          <a:solidFill>
            <a:schemeClr val="bg1"/>
          </a:solidFill>
          <a:ln w="399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9001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_colored">
    <p:bg>
      <p:bgPr>
        <a:solidFill>
          <a:srgbClr val="004E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7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574792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21549CC-0872-1288-C1D5-BD89CF9450AC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26561D24-BBBB-253A-7A51-A96C57F40E5B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A2B8DFB7-79B0-0439-C360-6941BF32E4D7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9298A01-26D5-77F0-1B44-28C8BBA32B5A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21EA26B0-23BA-7A00-892D-A1F326878E52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A5D3FC7E-9D3D-EB60-5F4A-AB0976EFEC60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068336B-339F-1776-3C0F-78C717AA59C8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48ABCE10-7A7F-1324-4D1D-7AD10D1042B1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FA92F67-A433-8731-5914-B14989A94311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504D71D0-6847-ADE8-467F-77206D5DE761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AB17545C-2653-11B9-6AAD-F2414CA88813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1D454EF4-1099-5940-A5D4-5F82D3172AE1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AB6D7EE-DAF5-E7EF-6D1E-0891469BD32B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E6DA982A-4819-86A4-B3E3-3820BE19C0E0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Прямоугольник: скругленные углы 51">
              <a:extLst>
                <a:ext uri="{FF2B5EF4-FFF2-40B4-BE49-F238E27FC236}">
                  <a16:creationId xmlns:a16="http://schemas.microsoft.com/office/drawing/2014/main" id="{4C7A1397-7A11-591D-AA68-55A9039699E9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02E7F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64568EE7-F81D-84C3-5AE6-8B77C2134C94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0BC0B63B-AFDA-54FE-3829-EC8AA6CFBAEB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2FE7B29-A123-EF1E-09DB-12AADC874FA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60" name="Рисунок 93">
              <a:extLst>
                <a:ext uri="{FF2B5EF4-FFF2-40B4-BE49-F238E27FC236}">
                  <a16:creationId xmlns:a16="http://schemas.microsoft.com/office/drawing/2014/main" id="{AA53B632-DD94-4453-746B-3AC3CCA27D0B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DE6F264-2180-A77B-E487-478DC7F970C2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2B9BFCAF-86CA-1244-E85A-F30E4AC766F2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64">
              <a:extLst>
                <a:ext uri="{FF2B5EF4-FFF2-40B4-BE49-F238E27FC236}">
                  <a16:creationId xmlns:a16="http://schemas.microsoft.com/office/drawing/2014/main" id="{860A63BB-781E-AEA8-4E5D-D35214A49880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65">
              <a:extLst>
                <a:ext uri="{FF2B5EF4-FFF2-40B4-BE49-F238E27FC236}">
                  <a16:creationId xmlns:a16="http://schemas.microsoft.com/office/drawing/2014/main" id="{09CABE96-EC03-3157-B363-C0896B3891CC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EF4B2147-300C-3BFA-81C6-8712BD20BD73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4EE10FC-9DA3-93DA-C40F-EE6AAC1DA6AC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580B6A99-E717-2740-36C4-A72DCF75745A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Прямоугольник: скругленные углы 16">
              <a:extLst>
                <a:ext uri="{FF2B5EF4-FFF2-40B4-BE49-F238E27FC236}">
                  <a16:creationId xmlns:a16="http://schemas.microsoft.com/office/drawing/2014/main" id="{8CC18F95-EA8B-20E0-9AED-F6279027B331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D236EB0-0368-AF7A-C5FA-BA1C74876D58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99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Read 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842F427E-A7B0-ED26-5BAD-60F49256F445}"/>
              </a:ext>
            </a:extLst>
          </p:cNvPr>
          <p:cNvSpPr/>
          <p:nvPr/>
        </p:nvSpPr>
        <p:spPr>
          <a:xfrm>
            <a:off x="8769966" y="411163"/>
            <a:ext cx="2780684" cy="3570453"/>
          </a:xfrm>
          <a:prstGeom prst="roundRect">
            <a:avLst>
              <a:gd name="adj" fmla="val 5689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0C473BD7-ACD7-EB2B-FB86-6B31E90DB1BC}"/>
              </a:ext>
            </a:extLst>
          </p:cNvPr>
          <p:cNvSpPr/>
          <p:nvPr/>
        </p:nvSpPr>
        <p:spPr>
          <a:xfrm>
            <a:off x="638969" y="1721762"/>
            <a:ext cx="3636962" cy="2552284"/>
          </a:xfrm>
          <a:prstGeom prst="roundRect">
            <a:avLst>
              <a:gd name="adj" fmla="val 536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5" name="Рисунок 7">
            <a:extLst>
              <a:ext uri="{FF2B5EF4-FFF2-40B4-BE49-F238E27FC236}">
                <a16:creationId xmlns:a16="http://schemas.microsoft.com/office/drawing/2014/main" id="{D3FB9A76-953C-033C-61F9-0AC886567100}"/>
              </a:ext>
            </a:extLst>
          </p:cNvPr>
          <p:cNvSpPr/>
          <p:nvPr/>
        </p:nvSpPr>
        <p:spPr>
          <a:xfrm>
            <a:off x="3983413" y="1943086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49C6957-2D3E-DC29-1E26-B13045C7740D}"/>
              </a:ext>
            </a:extLst>
          </p:cNvPr>
          <p:cNvSpPr txBox="1"/>
          <p:nvPr/>
        </p:nvSpPr>
        <p:spPr>
          <a:xfrm>
            <a:off x="851401" y="1908000"/>
            <a:ext cx="2741705" cy="2532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>
                <a:solidFill>
                  <a:schemeClr val="accent1"/>
                </a:solidFill>
              </a:rPr>
              <a:t>И шрифтом единым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217C2A-0738-0EEE-9E4D-8690A4CD65E8}"/>
              </a:ext>
            </a:extLst>
          </p:cNvPr>
          <p:cNvSpPr txBox="1"/>
          <p:nvPr/>
        </p:nvSpPr>
        <p:spPr>
          <a:xfrm>
            <a:off x="835809" y="2582400"/>
            <a:ext cx="3092566" cy="202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1200">
                <a:latin typeface="+mj-lt"/>
              </a:rPr>
              <a:t>Arial Black </a:t>
            </a:r>
            <a:r>
              <a:rPr lang="ru-RU" sz="1200" spc="-30"/>
              <a:t>— заголовки и крупные цифры</a:t>
            </a:r>
            <a:r>
              <a:rPr lang="en-US" sz="1200" spc="-30"/>
              <a:t>.</a:t>
            </a:r>
            <a:endParaRPr lang="ru-RU" sz="1200" spc="-3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00CEFE1-B494-61DA-7233-8F84B2D4A63F}"/>
              </a:ext>
            </a:extLst>
          </p:cNvPr>
          <p:cNvSpPr txBox="1"/>
          <p:nvPr/>
        </p:nvSpPr>
        <p:spPr>
          <a:xfrm>
            <a:off x="835809" y="2805095"/>
            <a:ext cx="1985972" cy="202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1200"/>
              <a:t>Arial</a:t>
            </a:r>
            <a:r>
              <a:rPr lang="ru-RU" sz="1200"/>
              <a:t> </a:t>
            </a:r>
            <a:r>
              <a:rPr lang="ru-RU" sz="1200" spc="-30"/>
              <a:t>— любой другой текст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796C81-ACEB-6FF7-3F09-50647F7191D9}"/>
              </a:ext>
            </a:extLst>
          </p:cNvPr>
          <p:cNvSpPr txBox="1"/>
          <p:nvPr/>
        </p:nvSpPr>
        <p:spPr>
          <a:xfrm>
            <a:off x="851401" y="2291808"/>
            <a:ext cx="3339825" cy="202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/>
              <a:t>Настроили универсальные шрифты*</a:t>
            </a:r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6104178C-EF19-C749-314C-B1E58E8E5C6D}"/>
              </a:ext>
            </a:extLst>
          </p:cNvPr>
          <p:cNvSpPr/>
          <p:nvPr/>
        </p:nvSpPr>
        <p:spPr>
          <a:xfrm>
            <a:off x="1023002" y="3108184"/>
            <a:ext cx="728387" cy="570495"/>
          </a:xfrm>
          <a:prstGeom prst="roundRect">
            <a:avLst>
              <a:gd name="adj" fmla="val 8253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900">
              <a:solidFill>
                <a:schemeClr val="tx2"/>
              </a:solidFill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3F3BD349-C9D0-48CC-C2A2-95B33D646EDF}"/>
              </a:ext>
            </a:extLst>
          </p:cNvPr>
          <p:cNvSpPr/>
          <p:nvPr/>
        </p:nvSpPr>
        <p:spPr>
          <a:xfrm>
            <a:off x="835809" y="3108185"/>
            <a:ext cx="147470" cy="242152"/>
          </a:xfrm>
          <a:prstGeom prst="roundRect">
            <a:avLst>
              <a:gd name="adj" fmla="val 2024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30B6D2-C461-1492-330C-20FD7AE1013F}"/>
              </a:ext>
            </a:extLst>
          </p:cNvPr>
          <p:cNvSpPr txBox="1"/>
          <p:nvPr/>
        </p:nvSpPr>
        <p:spPr>
          <a:xfrm>
            <a:off x="1844353" y="3115599"/>
            <a:ext cx="2235410" cy="54717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spc="-30"/>
              <a:t>Слева от слайда добавили подсказки по подбору размера текста в разных ситуациях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11821C8-FA09-F9AC-8D01-112C77DF8540}"/>
              </a:ext>
            </a:extLst>
          </p:cNvPr>
          <p:cNvSpPr txBox="1"/>
          <p:nvPr/>
        </p:nvSpPr>
        <p:spPr>
          <a:xfrm>
            <a:off x="851401" y="3789831"/>
            <a:ext cx="2916590" cy="334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000">
                <a:solidFill>
                  <a:schemeClr val="accent6">
                    <a:lumMod val="75000"/>
                  </a:schemeClr>
                </a:solidFill>
              </a:rPr>
              <a:t>* По правилам бренда фирменный шрифт </a:t>
            </a:r>
            <a:r>
              <a:rPr lang="en-US" sz="1000">
                <a:solidFill>
                  <a:schemeClr val="accent6">
                    <a:lumMod val="75000"/>
                  </a:schemeClr>
                </a:solidFill>
              </a:rPr>
              <a:t>Ozon GT </a:t>
            </a:r>
            <a:r>
              <a:rPr lang="en-US" sz="1000" err="1">
                <a:solidFill>
                  <a:schemeClr val="accent6">
                    <a:lumMod val="75000"/>
                  </a:schemeClr>
                </a:solidFill>
              </a:rPr>
              <a:t>Eesti</a:t>
            </a:r>
            <a:r>
              <a:rPr lang="en-US" sz="100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sz="1000">
                <a:solidFill>
                  <a:schemeClr val="accent6">
                    <a:lumMod val="75000"/>
                  </a:schemeClr>
                </a:solidFill>
              </a:rPr>
              <a:t>в презентациях не используется.</a:t>
            </a:r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C4AD015F-EE11-7D88-0C79-B09991610136}"/>
              </a:ext>
            </a:extLst>
          </p:cNvPr>
          <p:cNvSpPr/>
          <p:nvPr/>
        </p:nvSpPr>
        <p:spPr>
          <a:xfrm>
            <a:off x="639763" y="4535412"/>
            <a:ext cx="3636962" cy="1734939"/>
          </a:xfrm>
          <a:prstGeom prst="roundRect">
            <a:avLst>
              <a:gd name="adj" fmla="val 1039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15" name="Рисунок 7">
            <a:extLst>
              <a:ext uri="{FF2B5EF4-FFF2-40B4-BE49-F238E27FC236}">
                <a16:creationId xmlns:a16="http://schemas.microsoft.com/office/drawing/2014/main" id="{FA43BDE8-D7A0-0C27-C6CD-029C50B868D5}"/>
              </a:ext>
            </a:extLst>
          </p:cNvPr>
          <p:cNvSpPr/>
          <p:nvPr/>
        </p:nvSpPr>
        <p:spPr>
          <a:xfrm>
            <a:off x="3984207" y="4656592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30F08A5-A097-D2DF-E5ED-50245BA1511D}"/>
              </a:ext>
            </a:extLst>
          </p:cNvPr>
          <p:cNvSpPr txBox="1"/>
          <p:nvPr/>
        </p:nvSpPr>
        <p:spPr>
          <a:xfrm>
            <a:off x="852195" y="4682793"/>
            <a:ext cx="2741705" cy="2532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>
                <a:solidFill>
                  <a:schemeClr val="accent1"/>
                </a:solidFill>
              </a:rPr>
              <a:t>Классные таблицы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3B8DA76D-193B-C485-5922-0905FBE36CC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7406" y="5041239"/>
            <a:ext cx="1336787" cy="596097"/>
          </a:xfrm>
          <a:prstGeom prst="roundRect">
            <a:avLst>
              <a:gd name="adj" fmla="val 8135"/>
            </a:avLst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6016BEF-43F4-C513-6E8D-2D3F43E850C9}"/>
              </a:ext>
            </a:extLst>
          </p:cNvPr>
          <p:cNvSpPr txBox="1"/>
          <p:nvPr/>
        </p:nvSpPr>
        <p:spPr>
          <a:xfrm>
            <a:off x="2310490" y="5041239"/>
            <a:ext cx="1737427" cy="8206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spc="-30"/>
              <a:t>Настроили специальный стиль для работы </a:t>
            </a:r>
            <a:br>
              <a:rPr lang="ru-RU" sz="1200" spc="-30"/>
            </a:br>
            <a:r>
              <a:rPr lang="ru-RU" sz="1200" spc="-30"/>
              <a:t>с таблицами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A59D513-03D7-E112-73C4-AEF053F1B8A3}"/>
              </a:ext>
            </a:extLst>
          </p:cNvPr>
          <p:cNvSpPr txBox="1"/>
          <p:nvPr/>
        </p:nvSpPr>
        <p:spPr>
          <a:xfrm>
            <a:off x="852195" y="5727560"/>
            <a:ext cx="3277239" cy="404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/>
              <a:t>Настраивай вид таблицы в несколько кликов в разделе «Конструктор таблиц»</a:t>
            </a: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D17B9CA6-6150-A43F-D409-1A3029BF4C87}"/>
              </a:ext>
            </a:extLst>
          </p:cNvPr>
          <p:cNvSpPr/>
          <p:nvPr/>
        </p:nvSpPr>
        <p:spPr>
          <a:xfrm>
            <a:off x="835809" y="3382445"/>
            <a:ext cx="147470" cy="173301"/>
          </a:xfrm>
          <a:prstGeom prst="roundRect">
            <a:avLst>
              <a:gd name="adj" fmla="val 1886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E0C63BED-38C1-7FE4-2365-63A32A9AAC60}"/>
              </a:ext>
            </a:extLst>
          </p:cNvPr>
          <p:cNvSpPr/>
          <p:nvPr/>
        </p:nvSpPr>
        <p:spPr>
          <a:xfrm>
            <a:off x="835809" y="3587854"/>
            <a:ext cx="147470" cy="99462"/>
          </a:xfrm>
          <a:prstGeom prst="roundRect">
            <a:avLst>
              <a:gd name="adj" fmla="val 2991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24" name="Прямоугольник: скругленные углы 23">
            <a:extLst>
              <a:ext uri="{FF2B5EF4-FFF2-40B4-BE49-F238E27FC236}">
                <a16:creationId xmlns:a16="http://schemas.microsoft.com/office/drawing/2014/main" id="{DB56BD41-1107-8D34-A153-D854D92E8037}"/>
              </a:ext>
            </a:extLst>
          </p:cNvPr>
          <p:cNvSpPr/>
          <p:nvPr/>
        </p:nvSpPr>
        <p:spPr>
          <a:xfrm>
            <a:off x="4542838" y="411163"/>
            <a:ext cx="3961015" cy="5851525"/>
          </a:xfrm>
          <a:prstGeom prst="roundRect">
            <a:avLst>
              <a:gd name="adj" fmla="val 5112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25" name="Рисунок 7">
            <a:extLst>
              <a:ext uri="{FF2B5EF4-FFF2-40B4-BE49-F238E27FC236}">
                <a16:creationId xmlns:a16="http://schemas.microsoft.com/office/drawing/2014/main" id="{BE35B28F-D3E3-8C7F-F57E-6C61167D7222}"/>
              </a:ext>
            </a:extLst>
          </p:cNvPr>
          <p:cNvSpPr/>
          <p:nvPr/>
        </p:nvSpPr>
        <p:spPr>
          <a:xfrm>
            <a:off x="8208625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5283F07-2266-9262-3F8F-5F5E101E6F15}"/>
              </a:ext>
            </a:extLst>
          </p:cNvPr>
          <p:cNvSpPr txBox="1"/>
          <p:nvPr/>
        </p:nvSpPr>
        <p:spPr>
          <a:xfrm>
            <a:off x="4754328" y="587649"/>
            <a:ext cx="2741705" cy="2532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>
                <a:solidFill>
                  <a:schemeClr val="accent1"/>
                </a:solidFill>
              </a:rPr>
              <a:t>Настройся на цвет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7FB979E-BD31-1A6E-B7BA-8159F9C45488}"/>
              </a:ext>
            </a:extLst>
          </p:cNvPr>
          <p:cNvSpPr txBox="1"/>
          <p:nvPr/>
        </p:nvSpPr>
        <p:spPr>
          <a:xfrm>
            <a:off x="4754328" y="875467"/>
            <a:ext cx="3339825" cy="3957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/>
              <a:t>Подобрали цвета для разных задач </a:t>
            </a:r>
            <a:br>
              <a:rPr lang="ru-RU" sz="1200"/>
            </a:br>
            <a:r>
              <a:rPr lang="ru-RU" sz="1200"/>
              <a:t>и элементов и вшили их в шаблон</a:t>
            </a: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0C008694-8165-E8E2-7A8D-4E9F897E41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46894" y="1316353"/>
            <a:ext cx="1563441" cy="2330494"/>
          </a:xfrm>
          <a:prstGeom prst="rect">
            <a:avLst/>
          </a:prstGeom>
        </p:spPr>
      </p:pic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A6DCECD0-D935-CF3E-6D0B-AAF9A3FAA344}"/>
              </a:ext>
            </a:extLst>
          </p:cNvPr>
          <p:cNvSpPr/>
          <p:nvPr/>
        </p:nvSpPr>
        <p:spPr>
          <a:xfrm>
            <a:off x="4767556" y="1830194"/>
            <a:ext cx="128588" cy="129930"/>
          </a:xfrm>
          <a:prstGeom prst="roundRect">
            <a:avLst/>
          </a:prstGeom>
          <a:solidFill>
            <a:schemeClr val="accent6">
              <a:alpha val="10000"/>
            </a:schemeClr>
          </a:solidFill>
          <a:ln w="6350">
            <a:solidFill>
              <a:srgbClr val="10C4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8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0" name="Прямоугольник: скругленные углы 29">
            <a:extLst>
              <a:ext uri="{FF2B5EF4-FFF2-40B4-BE49-F238E27FC236}">
                <a16:creationId xmlns:a16="http://schemas.microsoft.com/office/drawing/2014/main" id="{C8706222-31CC-9F5F-E013-0BBE35934D54}"/>
              </a:ext>
            </a:extLst>
          </p:cNvPr>
          <p:cNvSpPr/>
          <p:nvPr/>
        </p:nvSpPr>
        <p:spPr>
          <a:xfrm>
            <a:off x="4906548" y="1830194"/>
            <a:ext cx="128588" cy="129930"/>
          </a:xfrm>
          <a:prstGeom prst="roundRect">
            <a:avLst/>
          </a:prstGeom>
          <a:solidFill>
            <a:schemeClr val="accent6">
              <a:alpha val="10000"/>
            </a:schemeClr>
          </a:solidFill>
          <a:ln w="6350">
            <a:solidFill>
              <a:srgbClr val="10C4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8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1" name="Прямоугольник: скругленные углы 30">
            <a:extLst>
              <a:ext uri="{FF2B5EF4-FFF2-40B4-BE49-F238E27FC236}">
                <a16:creationId xmlns:a16="http://schemas.microsoft.com/office/drawing/2014/main" id="{509C4CD0-5658-4B4D-9876-9BDC41BD413B}"/>
              </a:ext>
            </a:extLst>
          </p:cNvPr>
          <p:cNvSpPr/>
          <p:nvPr/>
        </p:nvSpPr>
        <p:spPr>
          <a:xfrm>
            <a:off x="5346494" y="1830194"/>
            <a:ext cx="555297" cy="129930"/>
          </a:xfrm>
          <a:prstGeom prst="roundRect">
            <a:avLst/>
          </a:prstGeom>
          <a:solidFill>
            <a:schemeClr val="tx1">
              <a:alpha val="17000"/>
            </a:schemeClr>
          </a:solidFill>
          <a:ln w="6350">
            <a:solidFill>
              <a:srgbClr val="10C4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r>
              <a:rPr lang="ru-RU" sz="8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2" name="Прямоугольник: скругленные углы 31">
            <a:extLst>
              <a:ext uri="{FF2B5EF4-FFF2-40B4-BE49-F238E27FC236}">
                <a16:creationId xmlns:a16="http://schemas.microsoft.com/office/drawing/2014/main" id="{07E7894A-349A-5D5C-6330-CB7710037BDF}"/>
              </a:ext>
            </a:extLst>
          </p:cNvPr>
          <p:cNvSpPr/>
          <p:nvPr/>
        </p:nvSpPr>
        <p:spPr>
          <a:xfrm>
            <a:off x="6052757" y="2052754"/>
            <a:ext cx="128588" cy="129930"/>
          </a:xfrm>
          <a:prstGeom prst="roundRect">
            <a:avLst/>
          </a:prstGeom>
          <a:solidFill>
            <a:schemeClr val="accent6">
              <a:alpha val="10000"/>
            </a:schemeClr>
          </a:solidFill>
          <a:ln w="6350">
            <a:solidFill>
              <a:srgbClr val="10C4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r>
              <a:rPr lang="ru-RU" sz="800" b="1">
                <a:solidFill>
                  <a:schemeClr val="tx1"/>
                </a:solidFill>
              </a:rPr>
              <a:t>6</a:t>
            </a:r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22A55104-6836-E9B1-3BCE-E75784F82444}"/>
              </a:ext>
            </a:extLst>
          </p:cNvPr>
          <p:cNvGrpSpPr/>
          <p:nvPr/>
        </p:nvGrpSpPr>
        <p:grpSpPr>
          <a:xfrm>
            <a:off x="4776934" y="3180865"/>
            <a:ext cx="1506353" cy="447322"/>
            <a:chOff x="4776934" y="3171767"/>
            <a:chExt cx="1506353" cy="447322"/>
          </a:xfrm>
        </p:grpSpPr>
        <p:cxnSp>
          <p:nvCxnSpPr>
            <p:cNvPr id="35" name="Прямая соединительная линия 34">
              <a:extLst>
                <a:ext uri="{FF2B5EF4-FFF2-40B4-BE49-F238E27FC236}">
                  <a16:creationId xmlns:a16="http://schemas.microsoft.com/office/drawing/2014/main" id="{64A34720-A647-A21D-C797-B1B07FAE24EA}"/>
                </a:ext>
              </a:extLst>
            </p:cNvPr>
            <p:cNvCxnSpPr>
              <a:cxnSpLocks/>
            </p:cNvCxnSpPr>
            <p:nvPr/>
          </p:nvCxnSpPr>
          <p:spPr>
            <a:xfrm>
              <a:off x="4776934" y="3171767"/>
              <a:ext cx="1506353" cy="447322"/>
            </a:xfrm>
            <a:prstGeom prst="line">
              <a:avLst/>
            </a:prstGeom>
            <a:ln w="28575" cap="rnd">
              <a:solidFill>
                <a:srgbClr val="F53C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Прямая соединительная линия 35">
              <a:extLst>
                <a:ext uri="{FF2B5EF4-FFF2-40B4-BE49-F238E27FC236}">
                  <a16:creationId xmlns:a16="http://schemas.microsoft.com/office/drawing/2014/main" id="{ABA02359-E131-EC74-AFE5-A384B9139F3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76934" y="3171767"/>
              <a:ext cx="1506353" cy="447322"/>
            </a:xfrm>
            <a:prstGeom prst="line">
              <a:avLst/>
            </a:prstGeom>
            <a:ln w="28575" cap="rnd">
              <a:solidFill>
                <a:srgbClr val="F53C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Прямоугольник: скругленные углы 36">
            <a:extLst>
              <a:ext uri="{FF2B5EF4-FFF2-40B4-BE49-F238E27FC236}">
                <a16:creationId xmlns:a16="http://schemas.microsoft.com/office/drawing/2014/main" id="{1FFAC3C6-D187-C758-85E3-B3011039AF25}"/>
              </a:ext>
            </a:extLst>
          </p:cNvPr>
          <p:cNvSpPr/>
          <p:nvPr userDrawn="1"/>
        </p:nvSpPr>
        <p:spPr>
          <a:xfrm>
            <a:off x="4906548" y="2489864"/>
            <a:ext cx="128588" cy="129930"/>
          </a:xfrm>
          <a:prstGeom prst="roundRect">
            <a:avLst/>
          </a:prstGeom>
          <a:solidFill>
            <a:schemeClr val="accent6">
              <a:alpha val="10000"/>
            </a:schemeClr>
          </a:solidFill>
          <a:ln w="6350">
            <a:solidFill>
              <a:srgbClr val="10C4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r>
              <a:rPr lang="ru-RU" sz="8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0599937-AD07-1D9A-9C7A-C9332990F130}"/>
              </a:ext>
            </a:extLst>
          </p:cNvPr>
          <p:cNvSpPr txBox="1"/>
          <p:nvPr/>
        </p:nvSpPr>
        <p:spPr>
          <a:xfrm>
            <a:off x="6446251" y="1591086"/>
            <a:ext cx="1846641" cy="20280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2563" indent="-182563" algn="l">
              <a:spcAft>
                <a:spcPts val="600"/>
              </a:spcAft>
              <a:buAutoNum type="arabicPeriod"/>
            </a:pPr>
            <a:r>
              <a:rPr lang="ru-RU" sz="1200"/>
              <a:t>Цвет фона светлой темы.</a:t>
            </a:r>
          </a:p>
          <a:p>
            <a:pPr marL="182563" indent="-182563" algn="l">
              <a:spcAft>
                <a:spcPts val="600"/>
              </a:spcAft>
              <a:buAutoNum type="arabicPeriod"/>
            </a:pPr>
            <a:r>
              <a:rPr lang="ru-RU" sz="1200"/>
              <a:t>Цвет текста для светлой темы.</a:t>
            </a:r>
          </a:p>
          <a:p>
            <a:pPr algn="l">
              <a:spcAft>
                <a:spcPts val="600"/>
              </a:spcAft>
            </a:pPr>
            <a:r>
              <a:rPr lang="ru-RU" sz="1000">
                <a:solidFill>
                  <a:schemeClr val="accent6">
                    <a:lumMod val="75000"/>
                  </a:schemeClr>
                </a:solidFill>
              </a:rPr>
              <a:t>Для тёмной — вторая </a:t>
            </a:r>
            <a:br>
              <a:rPr lang="ru-RU" sz="1000">
                <a:solidFill>
                  <a:schemeClr val="accent6">
                    <a:lumMod val="75000"/>
                  </a:schemeClr>
                </a:solidFill>
              </a:rPr>
            </a:br>
            <a:r>
              <a:rPr lang="ru-RU" sz="1000">
                <a:solidFill>
                  <a:schemeClr val="accent6">
                    <a:lumMod val="75000"/>
                  </a:schemeClr>
                </a:solidFill>
              </a:rPr>
              <a:t>пара цветов справа.</a:t>
            </a:r>
          </a:p>
          <a:p>
            <a:pPr marL="182563" indent="-182563" algn="l">
              <a:spcAft>
                <a:spcPts val="600"/>
              </a:spcAft>
              <a:buFont typeface="+mj-lt"/>
              <a:buAutoNum type="arabicPeriod" startAt="3"/>
            </a:pPr>
            <a:r>
              <a:rPr lang="ru-RU" sz="1200"/>
              <a:t>Основные акцентные цвета.</a:t>
            </a:r>
          </a:p>
          <a:p>
            <a:pPr marL="182563" indent="-182563" algn="l">
              <a:spcAft>
                <a:spcPts val="600"/>
              </a:spcAft>
              <a:buFont typeface="+mj-lt"/>
              <a:buAutoNum type="arabicPeriod" startAt="3"/>
            </a:pPr>
            <a:r>
              <a:rPr lang="ru-RU" sz="1200"/>
              <a:t>Цвет для светлых больших плашек.</a:t>
            </a:r>
          </a:p>
          <a:p>
            <a:pPr marL="228600" indent="-228600" algn="l">
              <a:spcAft>
                <a:spcPts val="600"/>
              </a:spcAft>
              <a:buFont typeface="+mj-lt"/>
              <a:buAutoNum type="arabicPeriod" startAt="3"/>
            </a:pPr>
            <a:endParaRPr lang="ru-RU" sz="1200"/>
          </a:p>
        </p:txBody>
      </p:sp>
      <p:sp>
        <p:nvSpPr>
          <p:cNvPr id="39" name="Прямоугольник: скругленные углы 38">
            <a:extLst>
              <a:ext uri="{FF2B5EF4-FFF2-40B4-BE49-F238E27FC236}">
                <a16:creationId xmlns:a16="http://schemas.microsoft.com/office/drawing/2014/main" id="{32A14937-912C-D974-643D-B129AF40AE78}"/>
              </a:ext>
            </a:extLst>
          </p:cNvPr>
          <p:cNvSpPr/>
          <p:nvPr/>
        </p:nvSpPr>
        <p:spPr>
          <a:xfrm>
            <a:off x="5912980" y="1830194"/>
            <a:ext cx="128588" cy="129930"/>
          </a:xfrm>
          <a:prstGeom prst="roundRect">
            <a:avLst/>
          </a:prstGeom>
          <a:solidFill>
            <a:schemeClr val="accent6">
              <a:alpha val="10000"/>
            </a:schemeClr>
          </a:solidFill>
          <a:ln w="6350">
            <a:solidFill>
              <a:srgbClr val="10C4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r>
              <a:rPr lang="ru-RU" sz="800" b="1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40" name="Прямоугольник: скругленные углы 39">
            <a:extLst>
              <a:ext uri="{FF2B5EF4-FFF2-40B4-BE49-F238E27FC236}">
                <a16:creationId xmlns:a16="http://schemas.microsoft.com/office/drawing/2014/main" id="{288F5587-AEBD-C716-689A-DE916153F99E}"/>
              </a:ext>
            </a:extLst>
          </p:cNvPr>
          <p:cNvSpPr/>
          <p:nvPr/>
        </p:nvSpPr>
        <p:spPr>
          <a:xfrm>
            <a:off x="6052757" y="1830194"/>
            <a:ext cx="128588" cy="129930"/>
          </a:xfrm>
          <a:prstGeom prst="roundRect">
            <a:avLst/>
          </a:prstGeom>
          <a:solidFill>
            <a:schemeClr val="accent6">
              <a:alpha val="10000"/>
            </a:schemeClr>
          </a:solidFill>
          <a:ln w="6350">
            <a:solidFill>
              <a:srgbClr val="10C4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r>
              <a:rPr lang="ru-RU" sz="800" b="1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99AACD3-914E-E2A9-6450-C01B7DF1B6D4}"/>
              </a:ext>
            </a:extLst>
          </p:cNvPr>
          <p:cNvSpPr txBox="1"/>
          <p:nvPr/>
        </p:nvSpPr>
        <p:spPr>
          <a:xfrm>
            <a:off x="4754328" y="3908670"/>
            <a:ext cx="3538564" cy="12589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ru-RU"/>
            </a:defPPr>
            <a:lvl1pPr marL="228600" indent="-228600">
              <a:spcAft>
                <a:spcPts val="600"/>
              </a:spcAft>
              <a:buAutoNum type="arabicPeriod"/>
              <a:defRPr sz="1200"/>
            </a:lvl1pPr>
          </a:lstStyle>
          <a:p>
            <a:pPr marL="182563" indent="-182563">
              <a:buFont typeface="+mj-lt"/>
              <a:buAutoNum type="arabicPeriod" startAt="5"/>
            </a:pPr>
            <a:r>
              <a:rPr lang="ru-RU"/>
              <a:t>Цвет вспомогательного текста.</a:t>
            </a:r>
          </a:p>
          <a:p>
            <a:pPr marL="182563" indent="-182563">
              <a:buFont typeface="+mj-lt"/>
              <a:buAutoNum type="arabicPeriod" startAt="5"/>
            </a:pPr>
            <a:r>
              <a:rPr lang="ru-RU"/>
              <a:t>Цвет больших плашек в светлой теме.</a:t>
            </a:r>
          </a:p>
          <a:p>
            <a:pPr marL="182563" indent="-182563">
              <a:buFont typeface="+mj-lt"/>
              <a:buAutoNum type="arabicPeriod" startAt="5"/>
            </a:pPr>
            <a:r>
              <a:rPr lang="ru-RU"/>
              <a:t>Цвет больших плашек в тёмной теме.</a:t>
            </a:r>
          </a:p>
          <a:p>
            <a:pPr marL="182563" indent="-182563">
              <a:buFont typeface="+mj-lt"/>
              <a:buAutoNum type="arabicPeriod" startAt="5"/>
            </a:pPr>
            <a:r>
              <a:rPr lang="ru-RU"/>
              <a:t>Цвета для маркировки роста / падения показателей в таблицах.</a:t>
            </a:r>
          </a:p>
        </p:txBody>
      </p:sp>
      <p:sp>
        <p:nvSpPr>
          <p:cNvPr id="42" name="Прямоугольник: скругленные углы 41">
            <a:extLst>
              <a:ext uri="{FF2B5EF4-FFF2-40B4-BE49-F238E27FC236}">
                <a16:creationId xmlns:a16="http://schemas.microsoft.com/office/drawing/2014/main" id="{870D83A5-234D-5C17-1D5F-9F32DEE66ED6}"/>
              </a:ext>
            </a:extLst>
          </p:cNvPr>
          <p:cNvSpPr/>
          <p:nvPr/>
        </p:nvSpPr>
        <p:spPr>
          <a:xfrm>
            <a:off x="4967311" y="5221257"/>
            <a:ext cx="728387" cy="570495"/>
          </a:xfrm>
          <a:prstGeom prst="roundRect">
            <a:avLst>
              <a:gd name="adj" fmla="val 8253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900">
              <a:solidFill>
                <a:schemeClr val="tx2"/>
              </a:solidFill>
            </a:endParaRPr>
          </a:p>
        </p:txBody>
      </p:sp>
      <p:sp>
        <p:nvSpPr>
          <p:cNvPr id="43" name="Прямоугольник: скругленные углы 42">
            <a:extLst>
              <a:ext uri="{FF2B5EF4-FFF2-40B4-BE49-F238E27FC236}">
                <a16:creationId xmlns:a16="http://schemas.microsoft.com/office/drawing/2014/main" id="{0BEA42B2-BF4C-459F-40F1-9AB531247C06}"/>
              </a:ext>
            </a:extLst>
          </p:cNvPr>
          <p:cNvSpPr/>
          <p:nvPr/>
        </p:nvSpPr>
        <p:spPr>
          <a:xfrm>
            <a:off x="4780118" y="5221258"/>
            <a:ext cx="147470" cy="242152"/>
          </a:xfrm>
          <a:prstGeom prst="roundRect">
            <a:avLst>
              <a:gd name="adj" fmla="val 20249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A16A151-70A3-D46E-3FEE-CD809FECE6E4}"/>
              </a:ext>
            </a:extLst>
          </p:cNvPr>
          <p:cNvSpPr txBox="1"/>
          <p:nvPr/>
        </p:nvSpPr>
        <p:spPr>
          <a:xfrm>
            <a:off x="5788662" y="5228671"/>
            <a:ext cx="2235410" cy="7538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spc="-30" dirty="0"/>
              <a:t>Слева от слайда добавили подсказку по выбору цветов</a:t>
            </a:r>
            <a:r>
              <a:rPr lang="en-US" sz="1200" spc="-30" dirty="0"/>
              <a:t>,</a:t>
            </a:r>
            <a:r>
              <a:rPr lang="ru-RU" sz="1200" spc="-30" dirty="0"/>
              <a:t> которая дублирует информацию выше</a:t>
            </a:r>
            <a:r>
              <a:rPr lang="en-US" sz="1200" spc="-30" dirty="0"/>
              <a:t>.</a:t>
            </a:r>
            <a:r>
              <a:rPr lang="ru-RU" sz="1200" spc="-30" dirty="0"/>
              <a:t> </a:t>
            </a:r>
          </a:p>
        </p:txBody>
      </p:sp>
      <p:sp>
        <p:nvSpPr>
          <p:cNvPr id="45" name="Прямоугольник: скругленные углы 44">
            <a:extLst>
              <a:ext uri="{FF2B5EF4-FFF2-40B4-BE49-F238E27FC236}">
                <a16:creationId xmlns:a16="http://schemas.microsoft.com/office/drawing/2014/main" id="{BB70B4E0-5947-9F3E-3B6A-45D30980A5AA}"/>
              </a:ext>
            </a:extLst>
          </p:cNvPr>
          <p:cNvSpPr/>
          <p:nvPr/>
        </p:nvSpPr>
        <p:spPr>
          <a:xfrm>
            <a:off x="4780118" y="5495518"/>
            <a:ext cx="147470" cy="173301"/>
          </a:xfrm>
          <a:prstGeom prst="roundRect">
            <a:avLst>
              <a:gd name="adj" fmla="val 188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46" name="Прямоугольник: скругленные углы 45">
            <a:extLst>
              <a:ext uri="{FF2B5EF4-FFF2-40B4-BE49-F238E27FC236}">
                <a16:creationId xmlns:a16="http://schemas.microsoft.com/office/drawing/2014/main" id="{728FA9EC-654E-E19D-5F53-9D6DB5E31D71}"/>
              </a:ext>
            </a:extLst>
          </p:cNvPr>
          <p:cNvSpPr/>
          <p:nvPr/>
        </p:nvSpPr>
        <p:spPr>
          <a:xfrm>
            <a:off x="4780118" y="5700927"/>
            <a:ext cx="147470" cy="99462"/>
          </a:xfrm>
          <a:prstGeom prst="roundRect">
            <a:avLst>
              <a:gd name="adj" fmla="val 2991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47" name="Рисунок 7">
            <a:extLst>
              <a:ext uri="{FF2B5EF4-FFF2-40B4-BE49-F238E27FC236}">
                <a16:creationId xmlns:a16="http://schemas.microsoft.com/office/drawing/2014/main" id="{3FB86F63-95B4-8D2E-1A9A-F785D45CAB4B}"/>
              </a:ext>
            </a:extLst>
          </p:cNvPr>
          <p:cNvSpPr/>
          <p:nvPr/>
        </p:nvSpPr>
        <p:spPr>
          <a:xfrm>
            <a:off x="11248712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AFB31A0-09C1-9043-1A77-84FD4D90313B}"/>
              </a:ext>
            </a:extLst>
          </p:cNvPr>
          <p:cNvSpPr txBox="1"/>
          <p:nvPr/>
        </p:nvSpPr>
        <p:spPr>
          <a:xfrm>
            <a:off x="8972687" y="587649"/>
            <a:ext cx="2421252" cy="3244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>
                <a:solidFill>
                  <a:schemeClr val="accent1"/>
                </a:solidFill>
              </a:rPr>
              <a:t>Всё будет ровно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5E12F67-07D8-7040-A6DE-E851CCEA0DC7}"/>
              </a:ext>
            </a:extLst>
          </p:cNvPr>
          <p:cNvSpPr txBox="1"/>
          <p:nvPr/>
        </p:nvSpPr>
        <p:spPr>
          <a:xfrm>
            <a:off x="8972688" y="927055"/>
            <a:ext cx="2383504" cy="10911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/>
              <a:t>Чтобы тебе было проще выравнивать контент</a:t>
            </a:r>
            <a:r>
              <a:rPr lang="en-US" sz="1200"/>
              <a:t>,</a:t>
            </a:r>
            <a:r>
              <a:rPr lang="ru-RU" sz="1200"/>
              <a:t> в шаблоне настроены направляющие. Включи их, нажав Alt+F9 </a:t>
            </a:r>
            <a:br>
              <a:rPr lang="ru-RU" sz="1200"/>
            </a:br>
            <a:r>
              <a:rPr lang="ru-RU" sz="1200"/>
              <a:t>или через вкладку «Вид» — «Направляющие»</a:t>
            </a:r>
            <a:r>
              <a:rPr lang="en-US" sz="1200"/>
              <a:t>.</a:t>
            </a:r>
            <a:r>
              <a:rPr lang="ru-RU" sz="1200"/>
              <a:t>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116D428-F5AA-A1D9-F109-4424B5FEEFC6}"/>
              </a:ext>
            </a:extLst>
          </p:cNvPr>
          <p:cNvSpPr txBox="1"/>
          <p:nvPr/>
        </p:nvSpPr>
        <p:spPr>
          <a:xfrm>
            <a:off x="9199437" y="2109168"/>
            <a:ext cx="1708894" cy="16196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400"/>
              </a:spcAft>
            </a:pPr>
            <a:r>
              <a:rPr lang="ru-RU" sz="1200"/>
              <a:t>Красными линиями обозначены границы слайда. Не размещай контент за их пределами. </a:t>
            </a:r>
          </a:p>
          <a:p>
            <a:pPr>
              <a:spcAft>
                <a:spcPts val="400"/>
              </a:spcAft>
            </a:pPr>
            <a:r>
              <a:rPr lang="ru-RU" sz="1200"/>
              <a:t>По серым линиям можно выравнивать контент внутри слайда.</a:t>
            </a:r>
          </a:p>
          <a:p>
            <a:pPr algn="l">
              <a:spcAft>
                <a:spcPts val="400"/>
              </a:spcAft>
            </a:pPr>
            <a:endParaRPr lang="ru-RU" sz="1400"/>
          </a:p>
        </p:txBody>
      </p:sp>
      <p:sp>
        <p:nvSpPr>
          <p:cNvPr id="53" name="Прямоугольник: скругленные углы 52">
            <a:extLst>
              <a:ext uri="{FF2B5EF4-FFF2-40B4-BE49-F238E27FC236}">
                <a16:creationId xmlns:a16="http://schemas.microsoft.com/office/drawing/2014/main" id="{09360FA4-F8F2-B1A6-D90C-CE0095F5B7F6}"/>
              </a:ext>
            </a:extLst>
          </p:cNvPr>
          <p:cNvSpPr/>
          <p:nvPr/>
        </p:nvSpPr>
        <p:spPr>
          <a:xfrm>
            <a:off x="8769965" y="4247728"/>
            <a:ext cx="2782273" cy="2022623"/>
          </a:xfrm>
          <a:prstGeom prst="roundRect">
            <a:avLst>
              <a:gd name="adj" fmla="val 1039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54" name="Рисунок 7">
            <a:extLst>
              <a:ext uri="{FF2B5EF4-FFF2-40B4-BE49-F238E27FC236}">
                <a16:creationId xmlns:a16="http://schemas.microsoft.com/office/drawing/2014/main" id="{F0DB6D7E-CA8B-946C-BADB-B831EA01BE74}"/>
              </a:ext>
            </a:extLst>
          </p:cNvPr>
          <p:cNvSpPr/>
          <p:nvPr/>
        </p:nvSpPr>
        <p:spPr>
          <a:xfrm>
            <a:off x="11259721" y="4368825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6102E31-758C-204D-1505-E97C6AAE6F58}"/>
              </a:ext>
            </a:extLst>
          </p:cNvPr>
          <p:cNvSpPr txBox="1"/>
          <p:nvPr/>
        </p:nvSpPr>
        <p:spPr>
          <a:xfrm>
            <a:off x="9596651" y="4400331"/>
            <a:ext cx="1809961" cy="4202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85000"/>
              </a:lnSpc>
            </a:pPr>
            <a:r>
              <a:rPr lang="ru-RU" b="1" dirty="0">
                <a:solidFill>
                  <a:schemeClr val="bg1"/>
                </a:solidFill>
              </a:rPr>
              <a:t>Нужна </a:t>
            </a:r>
          </a:p>
          <a:p>
            <a:pPr algn="l">
              <a:lnSpc>
                <a:spcPct val="85000"/>
              </a:lnSpc>
            </a:pPr>
            <a:r>
              <a:rPr lang="ru-RU" b="1" dirty="0">
                <a:solidFill>
                  <a:schemeClr val="bg1"/>
                </a:solidFill>
              </a:rPr>
              <a:t>поддержка?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8BF44CC-6485-312F-FA38-3DBA3F0D15E3}"/>
              </a:ext>
            </a:extLst>
          </p:cNvPr>
          <p:cNvSpPr txBox="1"/>
          <p:nvPr/>
        </p:nvSpPr>
        <p:spPr>
          <a:xfrm>
            <a:off x="8972688" y="4956676"/>
            <a:ext cx="2383504" cy="10911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>
                <a:solidFill>
                  <a:schemeClr val="bg1"/>
                </a:solidFill>
              </a:rPr>
              <a:t>Заходи на нашу страницу через </a:t>
            </a:r>
            <a:r>
              <a:rPr lang="en-US" sz="1200">
                <a:solidFill>
                  <a:schemeClr val="bg1"/>
                </a:solidFill>
              </a:rPr>
              <a:t>Staff </a:t>
            </a:r>
            <a:r>
              <a:rPr lang="ru-RU" sz="1200">
                <a:solidFill>
                  <a:schemeClr val="bg1"/>
                </a:solidFill>
              </a:rPr>
              <a:t>—  </a:t>
            </a:r>
            <a:r>
              <a:rPr lang="en-US" sz="1200">
                <a:solidFill>
                  <a:schemeClr val="bg1"/>
                </a:solidFill>
              </a:rPr>
              <a:t>Brand Ozon </a:t>
            </a:r>
            <a:r>
              <a:rPr lang="ru-RU" sz="1200">
                <a:solidFill>
                  <a:schemeClr val="bg1"/>
                </a:solidFill>
              </a:rPr>
              <a:t>— Всё для презентаций</a:t>
            </a:r>
            <a:r>
              <a:rPr lang="en-US" sz="1200">
                <a:solidFill>
                  <a:schemeClr val="bg1"/>
                </a:solidFill>
              </a:rPr>
              <a:t>. </a:t>
            </a:r>
            <a:r>
              <a:rPr lang="ru-RU" sz="1200">
                <a:solidFill>
                  <a:schemeClr val="bg1"/>
                </a:solidFill>
              </a:rPr>
              <a:t>Там можно скачать дополнительные материалы </a:t>
            </a:r>
            <a:br>
              <a:rPr lang="ru-RU" sz="1200">
                <a:solidFill>
                  <a:schemeClr val="bg1"/>
                </a:solidFill>
              </a:rPr>
            </a:br>
            <a:r>
              <a:rPr lang="ru-RU" sz="1200">
                <a:solidFill>
                  <a:schemeClr val="bg1"/>
                </a:solidFill>
              </a:rPr>
              <a:t>или записаться на консультацию. </a:t>
            </a:r>
          </a:p>
          <a:p>
            <a:pPr algn="l"/>
            <a:r>
              <a:rPr lang="ru-RU" sz="1200">
                <a:solidFill>
                  <a:schemeClr val="bg1"/>
                </a:solidFill>
              </a:rPr>
              <a:t>Результативных презентаций!</a:t>
            </a:r>
          </a:p>
        </p:txBody>
      </p:sp>
      <p:sp>
        <p:nvSpPr>
          <p:cNvPr id="59" name="Прямоугольник: скругленные углы 58">
            <a:extLst>
              <a:ext uri="{FF2B5EF4-FFF2-40B4-BE49-F238E27FC236}">
                <a16:creationId xmlns:a16="http://schemas.microsoft.com/office/drawing/2014/main" id="{F0D66FEF-47C6-AB0A-D089-59CF7BFB6471}"/>
              </a:ext>
            </a:extLst>
          </p:cNvPr>
          <p:cNvSpPr/>
          <p:nvPr/>
        </p:nvSpPr>
        <p:spPr>
          <a:xfrm>
            <a:off x="639763" y="411163"/>
            <a:ext cx="3636962" cy="1049233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FC5D6F7-0828-909F-707A-FC316B32BAFB}"/>
              </a:ext>
            </a:extLst>
          </p:cNvPr>
          <p:cNvSpPr txBox="1"/>
          <p:nvPr/>
        </p:nvSpPr>
        <p:spPr>
          <a:xfrm>
            <a:off x="851401" y="638506"/>
            <a:ext cx="2041159" cy="5945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Aft>
                <a:spcPts val="600"/>
              </a:spcAft>
            </a:pPr>
            <a:r>
              <a:rPr lang="ru-RU" sz="1200" b="1" dirty="0">
                <a:solidFill>
                  <a:schemeClr val="bg1"/>
                </a:solidFill>
              </a:rPr>
              <a:t>Привет! Сейчас расскажу про основной шаблон презентаций Ozon</a:t>
            </a:r>
          </a:p>
        </p:txBody>
      </p:sp>
      <p:sp>
        <p:nvSpPr>
          <p:cNvPr id="23" name="Рисунок 7">
            <a:extLst>
              <a:ext uri="{FF2B5EF4-FFF2-40B4-BE49-F238E27FC236}">
                <a16:creationId xmlns:a16="http://schemas.microsoft.com/office/drawing/2014/main" id="{1EE27734-862A-F6AE-44D8-CEBEED0269DA}"/>
              </a:ext>
            </a:extLst>
          </p:cNvPr>
          <p:cNvSpPr/>
          <p:nvPr userDrawn="1"/>
        </p:nvSpPr>
        <p:spPr>
          <a:xfrm>
            <a:off x="3983413" y="1943086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5" name="Прямоугольник: скругленные углы 64">
            <a:extLst>
              <a:ext uri="{FF2B5EF4-FFF2-40B4-BE49-F238E27FC236}">
                <a16:creationId xmlns:a16="http://schemas.microsoft.com/office/drawing/2014/main" id="{DDA1F3F9-A479-B8F3-23B0-F2EACC0A4F89}"/>
              </a:ext>
            </a:extLst>
          </p:cNvPr>
          <p:cNvSpPr/>
          <p:nvPr userDrawn="1"/>
        </p:nvSpPr>
        <p:spPr>
          <a:xfrm>
            <a:off x="1023002" y="3108184"/>
            <a:ext cx="728387" cy="570495"/>
          </a:xfrm>
          <a:prstGeom prst="roundRect">
            <a:avLst>
              <a:gd name="adj" fmla="val 8253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900">
              <a:solidFill>
                <a:schemeClr val="tx2"/>
              </a:solidFill>
            </a:endParaRPr>
          </a:p>
        </p:txBody>
      </p:sp>
      <p:sp>
        <p:nvSpPr>
          <p:cNvPr id="66" name="Прямоугольник: скругленные углы 65">
            <a:extLst>
              <a:ext uri="{FF2B5EF4-FFF2-40B4-BE49-F238E27FC236}">
                <a16:creationId xmlns:a16="http://schemas.microsoft.com/office/drawing/2014/main" id="{CB21CD65-F986-7C6D-2086-B846D95DC8EB}"/>
              </a:ext>
            </a:extLst>
          </p:cNvPr>
          <p:cNvSpPr/>
          <p:nvPr userDrawn="1"/>
        </p:nvSpPr>
        <p:spPr>
          <a:xfrm>
            <a:off x="835809" y="3108185"/>
            <a:ext cx="147470" cy="242152"/>
          </a:xfrm>
          <a:prstGeom prst="roundRect">
            <a:avLst>
              <a:gd name="adj" fmla="val 2024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69" name="Прямоугольник: скругленные углы 68">
            <a:extLst>
              <a:ext uri="{FF2B5EF4-FFF2-40B4-BE49-F238E27FC236}">
                <a16:creationId xmlns:a16="http://schemas.microsoft.com/office/drawing/2014/main" id="{21C57030-9375-A53F-9B9B-1BD595DB4BC0}"/>
              </a:ext>
            </a:extLst>
          </p:cNvPr>
          <p:cNvSpPr/>
          <p:nvPr userDrawn="1"/>
        </p:nvSpPr>
        <p:spPr>
          <a:xfrm>
            <a:off x="639763" y="4535412"/>
            <a:ext cx="3636962" cy="1734939"/>
          </a:xfrm>
          <a:prstGeom prst="roundRect">
            <a:avLst>
              <a:gd name="adj" fmla="val 1039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70" name="Рисунок 7">
            <a:extLst>
              <a:ext uri="{FF2B5EF4-FFF2-40B4-BE49-F238E27FC236}">
                <a16:creationId xmlns:a16="http://schemas.microsoft.com/office/drawing/2014/main" id="{F2B7419B-60EF-5C59-E6F9-B644857AC378}"/>
              </a:ext>
            </a:extLst>
          </p:cNvPr>
          <p:cNvSpPr/>
          <p:nvPr userDrawn="1"/>
        </p:nvSpPr>
        <p:spPr>
          <a:xfrm>
            <a:off x="3984207" y="4656592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8E9C7D4-7F19-AC51-33F9-D8BBCA267888}"/>
              </a:ext>
            </a:extLst>
          </p:cNvPr>
          <p:cNvSpPr txBox="1"/>
          <p:nvPr userDrawn="1"/>
        </p:nvSpPr>
        <p:spPr>
          <a:xfrm>
            <a:off x="852195" y="4682793"/>
            <a:ext cx="2741705" cy="2532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>
                <a:solidFill>
                  <a:schemeClr val="accent1"/>
                </a:solidFill>
              </a:rPr>
              <a:t>Таблицы на стиле</a:t>
            </a:r>
          </a:p>
        </p:txBody>
      </p:sp>
      <p:pic>
        <p:nvPicPr>
          <p:cNvPr id="72" name="Рисунок 71">
            <a:extLst>
              <a:ext uri="{FF2B5EF4-FFF2-40B4-BE49-F238E27FC236}">
                <a16:creationId xmlns:a16="http://schemas.microsoft.com/office/drawing/2014/main" id="{839CAEAD-5A29-77AC-24B1-9B23EA722D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7406" y="5041239"/>
            <a:ext cx="1336787" cy="596097"/>
          </a:xfrm>
          <a:prstGeom prst="roundRect">
            <a:avLst>
              <a:gd name="adj" fmla="val 8135"/>
            </a:avLst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668AA1F6-2C48-284A-413B-4F3F92A6F793}"/>
              </a:ext>
            </a:extLst>
          </p:cNvPr>
          <p:cNvSpPr txBox="1"/>
          <p:nvPr userDrawn="1"/>
        </p:nvSpPr>
        <p:spPr>
          <a:xfrm>
            <a:off x="2310490" y="5041239"/>
            <a:ext cx="1737427" cy="8206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spc="-30"/>
              <a:t>Настроили специальный стиль для работы </a:t>
            </a:r>
            <a:br>
              <a:rPr lang="ru-RU" sz="1200" spc="-30"/>
            </a:br>
            <a:r>
              <a:rPr lang="ru-RU" sz="1200" spc="-30"/>
              <a:t>с таблицами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E8D18C9-F6FE-2916-B3E7-94839200DFEB}"/>
              </a:ext>
            </a:extLst>
          </p:cNvPr>
          <p:cNvSpPr txBox="1"/>
          <p:nvPr userDrawn="1"/>
        </p:nvSpPr>
        <p:spPr>
          <a:xfrm>
            <a:off x="852195" y="5727560"/>
            <a:ext cx="3277239" cy="404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/>
              <a:t>Настраивай вид таблицы в несколько кликов в разделе «Конструктор таблиц»</a:t>
            </a:r>
          </a:p>
        </p:txBody>
      </p:sp>
      <p:sp>
        <p:nvSpPr>
          <p:cNvPr id="75" name="Прямоугольник: скругленные углы 74">
            <a:extLst>
              <a:ext uri="{FF2B5EF4-FFF2-40B4-BE49-F238E27FC236}">
                <a16:creationId xmlns:a16="http://schemas.microsoft.com/office/drawing/2014/main" id="{4229081F-D723-2FAA-3892-E9FC912BF1F8}"/>
              </a:ext>
            </a:extLst>
          </p:cNvPr>
          <p:cNvSpPr/>
          <p:nvPr userDrawn="1"/>
        </p:nvSpPr>
        <p:spPr>
          <a:xfrm>
            <a:off x="835809" y="3382445"/>
            <a:ext cx="147470" cy="173301"/>
          </a:xfrm>
          <a:prstGeom prst="roundRect">
            <a:avLst>
              <a:gd name="adj" fmla="val 1886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76" name="Прямоугольник: скругленные углы 75">
            <a:extLst>
              <a:ext uri="{FF2B5EF4-FFF2-40B4-BE49-F238E27FC236}">
                <a16:creationId xmlns:a16="http://schemas.microsoft.com/office/drawing/2014/main" id="{96C9CBD6-99B5-BB03-C015-6A5DEA4AD943}"/>
              </a:ext>
            </a:extLst>
          </p:cNvPr>
          <p:cNvSpPr/>
          <p:nvPr userDrawn="1"/>
        </p:nvSpPr>
        <p:spPr>
          <a:xfrm>
            <a:off x="835809" y="3587854"/>
            <a:ext cx="147470" cy="99462"/>
          </a:xfrm>
          <a:prstGeom prst="roundRect">
            <a:avLst>
              <a:gd name="adj" fmla="val 2991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78" name="Рисунок 7">
            <a:extLst>
              <a:ext uri="{FF2B5EF4-FFF2-40B4-BE49-F238E27FC236}">
                <a16:creationId xmlns:a16="http://schemas.microsoft.com/office/drawing/2014/main" id="{F05551BF-F822-F259-F28D-A7BF32D70259}"/>
              </a:ext>
            </a:extLst>
          </p:cNvPr>
          <p:cNvSpPr/>
          <p:nvPr userDrawn="1"/>
        </p:nvSpPr>
        <p:spPr>
          <a:xfrm>
            <a:off x="8208625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2" name="Прямоугольник: скругленные углы 81">
            <a:extLst>
              <a:ext uri="{FF2B5EF4-FFF2-40B4-BE49-F238E27FC236}">
                <a16:creationId xmlns:a16="http://schemas.microsoft.com/office/drawing/2014/main" id="{4B7E3D5C-E024-056E-A692-14A70C00C88D}"/>
              </a:ext>
            </a:extLst>
          </p:cNvPr>
          <p:cNvSpPr/>
          <p:nvPr userDrawn="1"/>
        </p:nvSpPr>
        <p:spPr>
          <a:xfrm>
            <a:off x="4767556" y="1830194"/>
            <a:ext cx="128588" cy="129930"/>
          </a:xfrm>
          <a:prstGeom prst="roundRect">
            <a:avLst/>
          </a:prstGeom>
          <a:solidFill>
            <a:schemeClr val="accent6">
              <a:alpha val="10000"/>
            </a:schemeClr>
          </a:solidFill>
          <a:ln w="6350">
            <a:solidFill>
              <a:srgbClr val="10C4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8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83" name="Прямоугольник: скругленные углы 82">
            <a:extLst>
              <a:ext uri="{FF2B5EF4-FFF2-40B4-BE49-F238E27FC236}">
                <a16:creationId xmlns:a16="http://schemas.microsoft.com/office/drawing/2014/main" id="{109D1960-0BB2-68DA-0C9E-0C6DF3951ABC}"/>
              </a:ext>
            </a:extLst>
          </p:cNvPr>
          <p:cNvSpPr/>
          <p:nvPr userDrawn="1"/>
        </p:nvSpPr>
        <p:spPr>
          <a:xfrm>
            <a:off x="4906548" y="1830194"/>
            <a:ext cx="128588" cy="129930"/>
          </a:xfrm>
          <a:prstGeom prst="roundRect">
            <a:avLst/>
          </a:prstGeom>
          <a:solidFill>
            <a:schemeClr val="accent6">
              <a:alpha val="10000"/>
            </a:schemeClr>
          </a:solidFill>
          <a:ln w="6350">
            <a:solidFill>
              <a:srgbClr val="10C4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8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6" name="Прямоугольник: скругленные углы 85">
            <a:extLst>
              <a:ext uri="{FF2B5EF4-FFF2-40B4-BE49-F238E27FC236}">
                <a16:creationId xmlns:a16="http://schemas.microsoft.com/office/drawing/2014/main" id="{64A0185F-A819-0E02-D777-D0DBE8D5763B}"/>
              </a:ext>
            </a:extLst>
          </p:cNvPr>
          <p:cNvSpPr/>
          <p:nvPr userDrawn="1"/>
        </p:nvSpPr>
        <p:spPr>
          <a:xfrm>
            <a:off x="4767556" y="2962012"/>
            <a:ext cx="845913" cy="129930"/>
          </a:xfrm>
          <a:prstGeom prst="roundRect">
            <a:avLst/>
          </a:prstGeom>
          <a:solidFill>
            <a:schemeClr val="tx1">
              <a:alpha val="40000"/>
            </a:schemeClr>
          </a:solidFill>
          <a:ln w="6350">
            <a:solidFill>
              <a:srgbClr val="10C4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r>
              <a:rPr lang="ru-RU" sz="8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00" name="Рисунок 7">
            <a:extLst>
              <a:ext uri="{FF2B5EF4-FFF2-40B4-BE49-F238E27FC236}">
                <a16:creationId xmlns:a16="http://schemas.microsoft.com/office/drawing/2014/main" id="{BF8EACDE-C000-C872-7DD4-D2D6912EA863}"/>
              </a:ext>
            </a:extLst>
          </p:cNvPr>
          <p:cNvSpPr/>
          <p:nvPr userDrawn="1"/>
        </p:nvSpPr>
        <p:spPr>
          <a:xfrm>
            <a:off x="11248712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03" name="Рисунок 102">
            <a:extLst>
              <a:ext uri="{FF2B5EF4-FFF2-40B4-BE49-F238E27FC236}">
                <a16:creationId xmlns:a16="http://schemas.microsoft.com/office/drawing/2014/main" id="{0F92B201-50C1-310E-C726-28247CA7DC4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687" y="2117100"/>
            <a:ext cx="166759" cy="166759"/>
          </a:xfrm>
          <a:prstGeom prst="rect">
            <a:avLst/>
          </a:prstGeom>
        </p:spPr>
      </p:pic>
      <p:pic>
        <p:nvPicPr>
          <p:cNvPr id="104" name="Рисунок 103">
            <a:extLst>
              <a:ext uri="{FF2B5EF4-FFF2-40B4-BE49-F238E27FC236}">
                <a16:creationId xmlns:a16="http://schemas.microsoft.com/office/drawing/2014/main" id="{19E94223-E790-58A9-6376-F634F65BD8B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687" y="3092518"/>
            <a:ext cx="166759" cy="166759"/>
          </a:xfrm>
          <a:prstGeom prst="rect">
            <a:avLst/>
          </a:prstGeom>
        </p:spPr>
      </p:pic>
      <p:sp>
        <p:nvSpPr>
          <p:cNvPr id="107" name="Рисунок 7">
            <a:extLst>
              <a:ext uri="{FF2B5EF4-FFF2-40B4-BE49-F238E27FC236}">
                <a16:creationId xmlns:a16="http://schemas.microsoft.com/office/drawing/2014/main" id="{BDCE8111-42D6-40F9-4114-0169203FB13D}"/>
              </a:ext>
            </a:extLst>
          </p:cNvPr>
          <p:cNvSpPr/>
          <p:nvPr userDrawn="1"/>
        </p:nvSpPr>
        <p:spPr>
          <a:xfrm>
            <a:off x="11259721" y="4368825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77" name="Рисунок 76">
            <a:extLst>
              <a:ext uri="{FF2B5EF4-FFF2-40B4-BE49-F238E27FC236}">
                <a16:creationId xmlns:a16="http://schemas.microsoft.com/office/drawing/2014/main" id="{4BA802C9-E788-4F56-A860-39F6F17CFE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79802" y="296621"/>
            <a:ext cx="1199961" cy="1161084"/>
          </a:xfrm>
          <a:prstGeom prst="rect">
            <a:avLst/>
          </a:prstGeom>
        </p:spPr>
      </p:pic>
      <p:pic>
        <p:nvPicPr>
          <p:cNvPr id="79" name="Рисунок 78">
            <a:extLst>
              <a:ext uri="{FF2B5EF4-FFF2-40B4-BE49-F238E27FC236}">
                <a16:creationId xmlns:a16="http://schemas.microsoft.com/office/drawing/2014/main" id="{664B16D6-0264-4710-885D-AF78231ED5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0" t="-8876" r="4400" b="21632"/>
          <a:stretch/>
        </p:blipFill>
        <p:spPr>
          <a:xfrm>
            <a:off x="8972687" y="4376445"/>
            <a:ext cx="484281" cy="484833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337495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DE8E5C46-0B07-7F57-D5C9-A6D773A2F183}"/>
              </a:ext>
            </a:extLst>
          </p:cNvPr>
          <p:cNvSpPr/>
          <p:nvPr/>
        </p:nvSpPr>
        <p:spPr>
          <a:xfrm>
            <a:off x="2457451" y="411163"/>
            <a:ext cx="8185150" cy="5851526"/>
          </a:xfrm>
          <a:prstGeom prst="roundRect">
            <a:avLst>
              <a:gd name="adj" fmla="val 7010"/>
            </a:avLst>
          </a:prstGeom>
          <a:gradFill>
            <a:gsLst>
              <a:gs pos="0">
                <a:schemeClr val="accent1"/>
              </a:gs>
              <a:gs pos="25000">
                <a:srgbClr val="2E78FF"/>
              </a:gs>
              <a:gs pos="90000">
                <a:srgbClr val="5CC3FF"/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endParaRPr lang="ru-RU" sz="1400" err="1"/>
          </a:p>
        </p:txBody>
      </p:sp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8825DCE6-4638-2DF0-5DC3-9BDE0FEFEFDD}"/>
              </a:ext>
            </a:extLst>
          </p:cNvPr>
          <p:cNvSpPr/>
          <p:nvPr/>
        </p:nvSpPr>
        <p:spPr>
          <a:xfrm>
            <a:off x="639762" y="411162"/>
            <a:ext cx="1496947" cy="5851525"/>
          </a:xfrm>
          <a:prstGeom prst="roundRect">
            <a:avLst>
              <a:gd name="adj" fmla="val 27375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8047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6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екст 5">
            <a:extLst>
              <a:ext uri="{FF2B5EF4-FFF2-40B4-BE49-F238E27FC236}">
                <a16:creationId xmlns:a16="http://schemas.microsoft.com/office/drawing/2014/main" id="{12F0BAE5-9B94-D517-7A49-4E7BBC7BB9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4284" y="1739217"/>
            <a:ext cx="1087903" cy="743655"/>
          </a:xfrm>
        </p:spPr>
        <p:txBody>
          <a:bodyPr anchor="t"/>
          <a:lstStyle>
            <a:lvl1pPr algn="ctr">
              <a:defRPr sz="6000" b="1" spc="-2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  <a:endParaRPr lang="ru-RU"/>
          </a:p>
        </p:txBody>
      </p:sp>
      <p:sp>
        <p:nvSpPr>
          <p:cNvPr id="8" name="Текст 8">
            <a:extLst>
              <a:ext uri="{FF2B5EF4-FFF2-40B4-BE49-F238E27FC236}">
                <a16:creationId xmlns:a16="http://schemas.microsoft.com/office/drawing/2014/main" id="{9DD477A7-0F1C-B92E-5302-1F26D4F1EE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79573" y="1767569"/>
            <a:ext cx="6353390" cy="2341562"/>
          </a:xfrm>
        </p:spPr>
        <p:txBody>
          <a:bodyPr/>
          <a:lstStyle>
            <a:lvl1pPr>
              <a:spcAft>
                <a:spcPts val="0"/>
              </a:spcAft>
              <a:defRPr sz="4000" b="1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Напиши смысловой заголовок раздела </a:t>
            </a:r>
            <a:br>
              <a:rPr lang="ru-RU"/>
            </a:br>
            <a:r>
              <a:rPr lang="ru-RU"/>
              <a:t>в 2–3 строки</a:t>
            </a:r>
          </a:p>
        </p:txBody>
      </p:sp>
    </p:spTree>
    <p:extLst>
      <p:ext uri="{BB962C8B-B14F-4D97-AF65-F5344CB8AC3E}">
        <p14:creationId xmlns:p14="http://schemas.microsoft.com/office/powerpoint/2010/main" val="1236643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E49329ED-88BB-C258-4171-C073E4805052}"/>
              </a:ext>
            </a:extLst>
          </p:cNvPr>
          <p:cNvSpPr/>
          <p:nvPr/>
        </p:nvSpPr>
        <p:spPr>
          <a:xfrm>
            <a:off x="639763" y="411163"/>
            <a:ext cx="10910887" cy="5851525"/>
          </a:xfrm>
          <a:prstGeom prst="roundRect">
            <a:avLst>
              <a:gd name="adj" fmla="val 10750"/>
            </a:avLst>
          </a:prstGeom>
          <a:gradFill>
            <a:gsLst>
              <a:gs pos="0">
                <a:schemeClr val="accent1"/>
              </a:gs>
              <a:gs pos="25000">
                <a:srgbClr val="2E78FF"/>
              </a:gs>
              <a:gs pos="90000">
                <a:srgbClr val="5CC3FF"/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endParaRPr lang="ru-RU" sz="1400" err="1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04" name="Слайд think-cell" r:id="rId14" imgW="233" imgH="233" progId="TCLayout.ActiveDocument.1">
                  <p:embed/>
                </p:oleObj>
              </mc:Choice>
              <mc:Fallback>
                <p:oleObj name="Слайд think-cell" r:id="rId14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4705255"/>
            <a:ext cx="8174332" cy="81756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Напиши подзаголовок презентации, имя спикера </a:t>
            </a:r>
            <a:br>
              <a:rPr lang="ru-RU"/>
            </a:br>
            <a:r>
              <a:rPr lang="ru-RU"/>
              <a:t>и другую дополнительную информацию</a:t>
            </a: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5AD7914A-6F7A-0AB4-0320-8B0610322AB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05" name="Слайд think-cell" r:id="rId16" imgW="233" imgH="233" progId="TCLayout.ActiveDocument.1">
                  <p:embed/>
                </p:oleObj>
              </mc:Choice>
              <mc:Fallback>
                <p:oleObj name="Слайд think-cell" r:id="rId16" imgW="233" imgH="2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5AD7914A-6F7A-0AB4-0320-8B0610322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15B33EE8-2A0C-A289-E633-0C1A78BC22F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06" name="Слайд think-cell" r:id="rId17" imgW="233" imgH="233" progId="TCLayout.ActiveDocument.1">
                  <p:embed/>
                </p:oleObj>
              </mc:Choice>
              <mc:Fallback>
                <p:oleObj name="Слайд think-cell" r:id="rId17" imgW="233" imgH="233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15B33EE8-2A0C-A289-E633-0C1A78BC22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EDB5745A-EB00-381B-6668-493769E30B62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07" name="Слайд think-cell" r:id="rId18" imgW="233" imgH="233" progId="TCLayout.ActiveDocument.1">
                  <p:embed/>
                </p:oleObj>
              </mc:Choice>
              <mc:Fallback>
                <p:oleObj name="Слайд think-cell" r:id="rId18" imgW="233" imgH="233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EDB5745A-EB00-381B-6668-493769E30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1A29F7CF-5EA7-385D-A6B8-3F74846ECFA0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08" name="Слайд think-cell" r:id="rId19" imgW="233" imgH="233" progId="TCLayout.ActiveDocument.1">
                  <p:embed/>
                </p:oleObj>
              </mc:Choice>
              <mc:Fallback>
                <p:oleObj name="Слайд think-cell" r:id="rId19" imgW="233" imgH="233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1A29F7CF-5EA7-385D-A6B8-3F74846EC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69EB17E6-0D76-E72E-817B-D0C2F75924C4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09" name="Слайд think-cell" r:id="rId20" imgW="233" imgH="233" progId="TCLayout.ActiveDocument.1">
                  <p:embed/>
                </p:oleObj>
              </mc:Choice>
              <mc:Fallback>
                <p:oleObj name="Слайд think-cell" r:id="rId20" imgW="233" imgH="23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id="{69EB17E6-0D76-E72E-817B-D0C2F7592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E0D4A2C-56C5-17DB-0E5E-7516F66FD0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6718" y="2152745"/>
            <a:ext cx="8206245" cy="2277549"/>
          </a:xfrm>
        </p:spPr>
        <p:txBody>
          <a:bodyPr vert="horz" anchor="b">
            <a:noAutofit/>
          </a:bodyPr>
          <a:lstStyle>
            <a:lvl1pPr algn="l">
              <a:lnSpc>
                <a:spcPct val="90000"/>
              </a:lnSpc>
              <a:defRPr sz="4800" spc="-50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Напиши смысловой заголовок презентации </a:t>
            </a:r>
            <a:br>
              <a:rPr lang="ru-RU"/>
            </a:br>
            <a:r>
              <a:rPr lang="ru-RU"/>
              <a:t>в 2–3 строки</a:t>
            </a:r>
          </a:p>
        </p:txBody>
      </p:sp>
      <p:sp>
        <p:nvSpPr>
          <p:cNvPr id="10" name="Рисунок 7">
            <a:extLst>
              <a:ext uri="{FF2B5EF4-FFF2-40B4-BE49-F238E27FC236}">
                <a16:creationId xmlns:a16="http://schemas.microsoft.com/office/drawing/2014/main" id="{D37AAFC2-18B9-4946-F395-9A07F4ACD777}"/>
              </a:ext>
            </a:extLst>
          </p:cNvPr>
          <p:cNvSpPr/>
          <p:nvPr/>
        </p:nvSpPr>
        <p:spPr>
          <a:xfrm>
            <a:off x="1541812" y="1009909"/>
            <a:ext cx="1165502" cy="252000"/>
          </a:xfrm>
          <a:custGeom>
            <a:avLst/>
            <a:gdLst>
              <a:gd name="connsiteX0" fmla="*/ 126737 w 1165502"/>
              <a:gd name="connsiteY0" fmla="*/ 0 h 252000"/>
              <a:gd name="connsiteX1" fmla="*/ 0 w 1165502"/>
              <a:gd name="connsiteY1" fmla="*/ 126000 h 252000"/>
              <a:gd name="connsiteX2" fmla="*/ 126737 w 1165502"/>
              <a:gd name="connsiteY2" fmla="*/ 252000 h 252000"/>
              <a:gd name="connsiteX3" fmla="*/ 253475 w 1165502"/>
              <a:gd name="connsiteY3" fmla="*/ 126000 h 252000"/>
              <a:gd name="connsiteX4" fmla="*/ 126737 w 1165502"/>
              <a:gd name="connsiteY4" fmla="*/ 0 h 252000"/>
              <a:gd name="connsiteX5" fmla="*/ 126737 w 1165502"/>
              <a:gd name="connsiteY5" fmla="*/ 193785 h 252000"/>
              <a:gd name="connsiteX6" fmla="*/ 58556 w 1165502"/>
              <a:gd name="connsiteY6" fmla="*/ 126000 h 252000"/>
              <a:gd name="connsiteX7" fmla="*/ 126737 w 1165502"/>
              <a:gd name="connsiteY7" fmla="*/ 58215 h 252000"/>
              <a:gd name="connsiteX8" fmla="*/ 194918 w 1165502"/>
              <a:gd name="connsiteY8" fmla="*/ 126000 h 252000"/>
              <a:gd name="connsiteX9" fmla="*/ 126737 w 1165502"/>
              <a:gd name="connsiteY9" fmla="*/ 193785 h 252000"/>
              <a:gd name="connsiteX10" fmla="*/ 711493 w 1165502"/>
              <a:gd name="connsiteY10" fmla="*/ 0 h 252000"/>
              <a:gd name="connsiteX11" fmla="*/ 533420 w 1165502"/>
              <a:gd name="connsiteY11" fmla="*/ 126000 h 252000"/>
              <a:gd name="connsiteX12" fmla="*/ 711493 w 1165502"/>
              <a:gd name="connsiteY12" fmla="*/ 252000 h 252000"/>
              <a:gd name="connsiteX13" fmla="*/ 889569 w 1165502"/>
              <a:gd name="connsiteY13" fmla="*/ 126000 h 252000"/>
              <a:gd name="connsiteX14" fmla="*/ 711493 w 1165502"/>
              <a:gd name="connsiteY14" fmla="*/ 0 h 252000"/>
              <a:gd name="connsiteX15" fmla="*/ 711493 w 1165502"/>
              <a:gd name="connsiteY15" fmla="*/ 193785 h 252000"/>
              <a:gd name="connsiteX16" fmla="*/ 592778 w 1165502"/>
              <a:gd name="connsiteY16" fmla="*/ 126798 h 252000"/>
              <a:gd name="connsiteX17" fmla="*/ 711493 w 1165502"/>
              <a:gd name="connsiteY17" fmla="*/ 59810 h 252000"/>
              <a:gd name="connsiteX18" fmla="*/ 830208 w 1165502"/>
              <a:gd name="connsiteY18" fmla="*/ 126798 h 252000"/>
              <a:gd name="connsiteX19" fmla="*/ 711493 w 1165502"/>
              <a:gd name="connsiteY19" fmla="*/ 193785 h 252000"/>
              <a:gd name="connsiteX20" fmla="*/ 1135821 w 1165502"/>
              <a:gd name="connsiteY20" fmla="*/ 5582 h 252000"/>
              <a:gd name="connsiteX21" fmla="*/ 1106140 w 1165502"/>
              <a:gd name="connsiteY21" fmla="*/ 35089 h 252000"/>
              <a:gd name="connsiteX22" fmla="*/ 1106140 w 1165502"/>
              <a:gd name="connsiteY22" fmla="*/ 133975 h 252000"/>
              <a:gd name="connsiteX23" fmla="*/ 945718 w 1165502"/>
              <a:gd name="connsiteY23" fmla="*/ 7177 h 252000"/>
              <a:gd name="connsiteX24" fmla="*/ 932079 w 1165502"/>
              <a:gd name="connsiteY24" fmla="*/ 13557 h 252000"/>
              <a:gd name="connsiteX25" fmla="*/ 932079 w 1165502"/>
              <a:gd name="connsiteY25" fmla="*/ 216911 h 252000"/>
              <a:gd name="connsiteX26" fmla="*/ 961760 w 1165502"/>
              <a:gd name="connsiteY26" fmla="*/ 246417 h 252000"/>
              <a:gd name="connsiteX27" fmla="*/ 991441 w 1165502"/>
              <a:gd name="connsiteY27" fmla="*/ 216911 h 252000"/>
              <a:gd name="connsiteX28" fmla="*/ 991441 w 1165502"/>
              <a:gd name="connsiteY28" fmla="*/ 118823 h 252000"/>
              <a:gd name="connsiteX29" fmla="*/ 1151863 w 1165502"/>
              <a:gd name="connsiteY29" fmla="*/ 245620 h 252000"/>
              <a:gd name="connsiteX30" fmla="*/ 1165502 w 1165502"/>
              <a:gd name="connsiteY30" fmla="*/ 239240 h 252000"/>
              <a:gd name="connsiteX31" fmla="*/ 1165502 w 1165502"/>
              <a:gd name="connsiteY31" fmla="*/ 35089 h 252000"/>
              <a:gd name="connsiteX32" fmla="*/ 1135821 w 1165502"/>
              <a:gd name="connsiteY32" fmla="*/ 5582 h 252000"/>
              <a:gd name="connsiteX33" fmla="*/ 486896 w 1165502"/>
              <a:gd name="connsiteY33" fmla="*/ 188202 h 252000"/>
              <a:gd name="connsiteX34" fmla="*/ 385827 w 1165502"/>
              <a:gd name="connsiteY34" fmla="*/ 188202 h 252000"/>
              <a:gd name="connsiteX35" fmla="*/ 514168 w 1165502"/>
              <a:gd name="connsiteY35" fmla="*/ 19139 h 252000"/>
              <a:gd name="connsiteX36" fmla="*/ 507752 w 1165502"/>
              <a:gd name="connsiteY36" fmla="*/ 5582 h 252000"/>
              <a:gd name="connsiteX37" fmla="*/ 321656 w 1165502"/>
              <a:gd name="connsiteY37" fmla="*/ 5582 h 252000"/>
              <a:gd name="connsiteX38" fmla="*/ 291977 w 1165502"/>
              <a:gd name="connsiteY38" fmla="*/ 35089 h 252000"/>
              <a:gd name="connsiteX39" fmla="*/ 321656 w 1165502"/>
              <a:gd name="connsiteY39" fmla="*/ 64595 h 252000"/>
              <a:gd name="connsiteX40" fmla="*/ 405881 w 1165502"/>
              <a:gd name="connsiteY40" fmla="*/ 64595 h 252000"/>
              <a:gd name="connsiteX41" fmla="*/ 276737 w 1165502"/>
              <a:gd name="connsiteY41" fmla="*/ 233658 h 252000"/>
              <a:gd name="connsiteX42" fmla="*/ 283956 w 1165502"/>
              <a:gd name="connsiteY42" fmla="*/ 247215 h 252000"/>
              <a:gd name="connsiteX43" fmla="*/ 486896 w 1165502"/>
              <a:gd name="connsiteY43" fmla="*/ 247215 h 252000"/>
              <a:gd name="connsiteX44" fmla="*/ 516575 w 1165502"/>
              <a:gd name="connsiteY44" fmla="*/ 217709 h 252000"/>
              <a:gd name="connsiteX45" fmla="*/ 486896 w 1165502"/>
              <a:gd name="connsiteY45" fmla="*/ 188202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165502" h="252000">
                <a:moveTo>
                  <a:pt x="126737" y="0"/>
                </a:moveTo>
                <a:cubicBezTo>
                  <a:pt x="56952" y="0"/>
                  <a:pt x="0" y="56620"/>
                  <a:pt x="0" y="126000"/>
                </a:cubicBezTo>
                <a:cubicBezTo>
                  <a:pt x="0" y="195380"/>
                  <a:pt x="56952" y="252000"/>
                  <a:pt x="126737" y="252000"/>
                </a:cubicBezTo>
                <a:cubicBezTo>
                  <a:pt x="197325" y="252000"/>
                  <a:pt x="253475" y="195380"/>
                  <a:pt x="253475" y="126000"/>
                </a:cubicBezTo>
                <a:cubicBezTo>
                  <a:pt x="253475" y="56620"/>
                  <a:pt x="197325" y="0"/>
                  <a:pt x="126737" y="0"/>
                </a:cubicBezTo>
                <a:close/>
                <a:moveTo>
                  <a:pt x="126737" y="193785"/>
                </a:moveTo>
                <a:cubicBezTo>
                  <a:pt x="89037" y="193785"/>
                  <a:pt x="58556" y="163481"/>
                  <a:pt x="58556" y="126000"/>
                </a:cubicBezTo>
                <a:cubicBezTo>
                  <a:pt x="58556" y="88519"/>
                  <a:pt x="89037" y="58215"/>
                  <a:pt x="126737" y="58215"/>
                </a:cubicBezTo>
                <a:cubicBezTo>
                  <a:pt x="164437" y="58215"/>
                  <a:pt x="194918" y="88519"/>
                  <a:pt x="194918" y="126000"/>
                </a:cubicBezTo>
                <a:cubicBezTo>
                  <a:pt x="194918" y="163481"/>
                  <a:pt x="164437" y="193785"/>
                  <a:pt x="126737" y="193785"/>
                </a:cubicBezTo>
                <a:close/>
                <a:moveTo>
                  <a:pt x="711493" y="0"/>
                </a:moveTo>
                <a:cubicBezTo>
                  <a:pt x="612831" y="0"/>
                  <a:pt x="533420" y="56620"/>
                  <a:pt x="533420" y="126000"/>
                </a:cubicBezTo>
                <a:cubicBezTo>
                  <a:pt x="533420" y="195380"/>
                  <a:pt x="612831" y="252000"/>
                  <a:pt x="711493" y="252000"/>
                </a:cubicBezTo>
                <a:cubicBezTo>
                  <a:pt x="810158" y="252000"/>
                  <a:pt x="889569" y="195380"/>
                  <a:pt x="889569" y="126000"/>
                </a:cubicBezTo>
                <a:cubicBezTo>
                  <a:pt x="889569" y="56620"/>
                  <a:pt x="809355" y="0"/>
                  <a:pt x="711493" y="0"/>
                </a:cubicBezTo>
                <a:close/>
                <a:moveTo>
                  <a:pt x="711493" y="193785"/>
                </a:moveTo>
                <a:cubicBezTo>
                  <a:pt x="643312" y="193785"/>
                  <a:pt x="592778" y="157898"/>
                  <a:pt x="592778" y="126798"/>
                </a:cubicBezTo>
                <a:cubicBezTo>
                  <a:pt x="592778" y="95696"/>
                  <a:pt x="643312" y="59810"/>
                  <a:pt x="711493" y="59810"/>
                </a:cubicBezTo>
                <a:cubicBezTo>
                  <a:pt x="779675" y="59810"/>
                  <a:pt x="830208" y="95696"/>
                  <a:pt x="830208" y="126798"/>
                </a:cubicBezTo>
                <a:cubicBezTo>
                  <a:pt x="830208" y="157898"/>
                  <a:pt x="778873" y="193785"/>
                  <a:pt x="711493" y="193785"/>
                </a:cubicBezTo>
                <a:close/>
                <a:moveTo>
                  <a:pt x="1135821" y="5582"/>
                </a:moveTo>
                <a:cubicBezTo>
                  <a:pt x="1119780" y="5582"/>
                  <a:pt x="1106140" y="19139"/>
                  <a:pt x="1106140" y="35089"/>
                </a:cubicBezTo>
                <a:lnTo>
                  <a:pt x="1106140" y="133975"/>
                </a:lnTo>
                <a:lnTo>
                  <a:pt x="945718" y="7177"/>
                </a:lnTo>
                <a:cubicBezTo>
                  <a:pt x="940103" y="2392"/>
                  <a:pt x="932079" y="6380"/>
                  <a:pt x="932079" y="13557"/>
                </a:cubicBezTo>
                <a:lnTo>
                  <a:pt x="932079" y="216911"/>
                </a:lnTo>
                <a:cubicBezTo>
                  <a:pt x="932079" y="232861"/>
                  <a:pt x="945718" y="246417"/>
                  <a:pt x="961760" y="246417"/>
                </a:cubicBezTo>
                <a:cubicBezTo>
                  <a:pt x="977801" y="246417"/>
                  <a:pt x="991441" y="232861"/>
                  <a:pt x="991441" y="216911"/>
                </a:cubicBezTo>
                <a:lnTo>
                  <a:pt x="991441" y="118823"/>
                </a:lnTo>
                <a:lnTo>
                  <a:pt x="1151863" y="245620"/>
                </a:lnTo>
                <a:cubicBezTo>
                  <a:pt x="1157477" y="250405"/>
                  <a:pt x="1165502" y="246417"/>
                  <a:pt x="1165502" y="239240"/>
                </a:cubicBezTo>
                <a:lnTo>
                  <a:pt x="1165502" y="35089"/>
                </a:lnTo>
                <a:cubicBezTo>
                  <a:pt x="1165502" y="19139"/>
                  <a:pt x="1151863" y="5582"/>
                  <a:pt x="1135821" y="5582"/>
                </a:cubicBezTo>
                <a:close/>
                <a:moveTo>
                  <a:pt x="486896" y="188202"/>
                </a:moveTo>
                <a:lnTo>
                  <a:pt x="385827" y="188202"/>
                </a:lnTo>
                <a:lnTo>
                  <a:pt x="514168" y="19139"/>
                </a:lnTo>
                <a:cubicBezTo>
                  <a:pt x="518179" y="13557"/>
                  <a:pt x="514168" y="5582"/>
                  <a:pt x="507752" y="5582"/>
                </a:cubicBezTo>
                <a:lnTo>
                  <a:pt x="321656" y="5582"/>
                </a:lnTo>
                <a:cubicBezTo>
                  <a:pt x="305614" y="5582"/>
                  <a:pt x="291977" y="19139"/>
                  <a:pt x="291977" y="35089"/>
                </a:cubicBezTo>
                <a:cubicBezTo>
                  <a:pt x="291977" y="51038"/>
                  <a:pt x="305614" y="64595"/>
                  <a:pt x="321656" y="64595"/>
                </a:cubicBezTo>
                <a:lnTo>
                  <a:pt x="405881" y="64595"/>
                </a:lnTo>
                <a:lnTo>
                  <a:pt x="276737" y="233658"/>
                </a:lnTo>
                <a:cubicBezTo>
                  <a:pt x="272726" y="239240"/>
                  <a:pt x="276737" y="247215"/>
                  <a:pt x="283956" y="247215"/>
                </a:cubicBezTo>
                <a:lnTo>
                  <a:pt x="486896" y="247215"/>
                </a:lnTo>
                <a:cubicBezTo>
                  <a:pt x="502939" y="247215"/>
                  <a:pt x="516575" y="233658"/>
                  <a:pt x="516575" y="217709"/>
                </a:cubicBezTo>
                <a:cubicBezTo>
                  <a:pt x="516575" y="201760"/>
                  <a:pt x="502939" y="188202"/>
                  <a:pt x="486896" y="188202"/>
                </a:cubicBezTo>
                <a:close/>
              </a:path>
            </a:pathLst>
          </a:custGeom>
          <a:solidFill>
            <a:schemeClr val="bg1"/>
          </a:solidFill>
          <a:ln w="785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1D77E8B5-7B50-6479-7248-130A739ECA38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10" name="Слайд think-cell" r:id="rId21" imgW="233" imgH="233" progId="TCLayout.ActiveDocument.1">
                  <p:embed/>
                </p:oleObj>
              </mc:Choice>
              <mc:Fallback>
                <p:oleObj name="Слайд think-cell" r:id="rId21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1D77E8B5-7B50-6479-7248-130A739ECA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4E5DA3C2-0A7F-674E-A5B0-30B7E3A95F0E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11" name="Слайд think-cell" r:id="rId22" imgW="233" imgH="233" progId="TCLayout.ActiveDocument.1">
                  <p:embed/>
                </p:oleObj>
              </mc:Choice>
              <mc:Fallback>
                <p:oleObj name="Слайд think-cell" r:id="rId22" imgW="233" imgH="233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4E5DA3C2-0A7F-674E-A5B0-30B7E3A95F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6F240980-E205-E34B-560B-418ADE4D2190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12" name="Слайд think-cell" r:id="rId23" imgW="233" imgH="233" progId="TCLayout.ActiveDocument.1">
                  <p:embed/>
                </p:oleObj>
              </mc:Choice>
              <mc:Fallback>
                <p:oleObj name="Слайд think-cell" r:id="rId23" imgW="233" imgH="233" progId="TCLayout.ActiveDocument.1">
                  <p:embed/>
                  <p:pic>
                    <p:nvPicPr>
                      <p:cNvPr id="11" name="Объект 10" hidden="1">
                        <a:extLst>
                          <a:ext uri="{FF2B5EF4-FFF2-40B4-BE49-F238E27FC236}">
                            <a16:creationId xmlns:a16="http://schemas.microsoft.com/office/drawing/2014/main" id="{6F240980-E205-E34B-560B-418ADE4D21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Объект 12" hidden="1">
            <a:extLst>
              <a:ext uri="{FF2B5EF4-FFF2-40B4-BE49-F238E27FC236}">
                <a16:creationId xmlns:a16="http://schemas.microsoft.com/office/drawing/2014/main" id="{AE319448-558B-6C3F-A87B-6F88A75AA87B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13" name="Слайд think-cell" r:id="rId24" imgW="233" imgH="233" progId="TCLayout.ActiveDocument.1">
                  <p:embed/>
                </p:oleObj>
              </mc:Choice>
              <mc:Fallback>
                <p:oleObj name="Слайд think-cell" r:id="rId24" imgW="233" imgH="233" progId="TCLayout.ActiveDocument.1">
                  <p:embed/>
                  <p:pic>
                    <p:nvPicPr>
                      <p:cNvPr id="13" name="Объект 12" hidden="1">
                        <a:extLst>
                          <a:ext uri="{FF2B5EF4-FFF2-40B4-BE49-F238E27FC236}">
                            <a16:creationId xmlns:a16="http://schemas.microsoft.com/office/drawing/2014/main" id="{AE319448-558B-6C3F-A87B-6F88A75AA8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4AA46163-C0B9-4B45-7146-A7012B609A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14" name="Слайд think-cell" r:id="rId25" imgW="233" imgH="233" progId="TCLayout.ActiveDocument.1">
                  <p:embed/>
                </p:oleObj>
              </mc:Choice>
              <mc:Fallback>
                <p:oleObj name="Слайд think-cell" r:id="rId25" imgW="233" imgH="233" progId="TCLayout.ActiveDocument.1">
                  <p:embed/>
                  <p:pic>
                    <p:nvPicPr>
                      <p:cNvPr id="14" name="Объект 13" hidden="1">
                        <a:extLst>
                          <a:ext uri="{FF2B5EF4-FFF2-40B4-BE49-F238E27FC236}">
                            <a16:creationId xmlns:a16="http://schemas.microsoft.com/office/drawing/2014/main" id="{4AA46163-C0B9-4B45-7146-A7012B609A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08451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DE8E5C46-0B07-7F57-D5C9-A6D773A2F183}"/>
              </a:ext>
            </a:extLst>
          </p:cNvPr>
          <p:cNvSpPr/>
          <p:nvPr/>
        </p:nvSpPr>
        <p:spPr>
          <a:xfrm>
            <a:off x="2457451" y="411163"/>
            <a:ext cx="8185150" cy="5851526"/>
          </a:xfrm>
          <a:prstGeom prst="roundRect">
            <a:avLst>
              <a:gd name="adj" fmla="val 7010"/>
            </a:avLst>
          </a:prstGeom>
          <a:gradFill>
            <a:gsLst>
              <a:gs pos="0">
                <a:schemeClr val="accent1"/>
              </a:gs>
              <a:gs pos="25000">
                <a:srgbClr val="2E78FF"/>
              </a:gs>
              <a:gs pos="90000">
                <a:srgbClr val="5CC3FF"/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endParaRPr lang="ru-RU" sz="1400" err="1"/>
          </a:p>
        </p:txBody>
      </p:sp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8825DCE6-4638-2DF0-5DC3-9BDE0FEFEFDD}"/>
              </a:ext>
            </a:extLst>
          </p:cNvPr>
          <p:cNvSpPr/>
          <p:nvPr/>
        </p:nvSpPr>
        <p:spPr>
          <a:xfrm>
            <a:off x="639762" y="411162"/>
            <a:ext cx="1496947" cy="5851525"/>
          </a:xfrm>
          <a:prstGeom prst="roundRect">
            <a:avLst>
              <a:gd name="adj" fmla="val 27375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8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екст 5">
            <a:extLst>
              <a:ext uri="{FF2B5EF4-FFF2-40B4-BE49-F238E27FC236}">
                <a16:creationId xmlns:a16="http://schemas.microsoft.com/office/drawing/2014/main" id="{12F0BAE5-9B94-D517-7A49-4E7BBC7BB9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4284" y="1739217"/>
            <a:ext cx="1087903" cy="743655"/>
          </a:xfrm>
        </p:spPr>
        <p:txBody>
          <a:bodyPr anchor="t"/>
          <a:lstStyle>
            <a:lvl1pPr algn="ctr">
              <a:defRPr sz="6000" b="1" spc="-2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  <a:endParaRPr lang="ru-RU"/>
          </a:p>
        </p:txBody>
      </p:sp>
      <p:sp>
        <p:nvSpPr>
          <p:cNvPr id="8" name="Текст 8">
            <a:extLst>
              <a:ext uri="{FF2B5EF4-FFF2-40B4-BE49-F238E27FC236}">
                <a16:creationId xmlns:a16="http://schemas.microsoft.com/office/drawing/2014/main" id="{9DD477A7-0F1C-B92E-5302-1F26D4F1EE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79573" y="1767569"/>
            <a:ext cx="6353390" cy="2341562"/>
          </a:xfrm>
        </p:spPr>
        <p:txBody>
          <a:bodyPr/>
          <a:lstStyle>
            <a:lvl1pPr>
              <a:spcAft>
                <a:spcPts val="0"/>
              </a:spcAft>
              <a:defRPr sz="4000" b="1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Напиши смысловой заголовок раздела </a:t>
            </a:r>
            <a:br>
              <a:rPr lang="ru-RU"/>
            </a:br>
            <a:r>
              <a:rPr lang="ru-RU"/>
              <a:t>в 2–3 строки</a:t>
            </a:r>
          </a:p>
        </p:txBody>
      </p:sp>
    </p:spTree>
    <p:extLst>
      <p:ext uri="{BB962C8B-B14F-4D97-AF65-F5344CB8AC3E}">
        <p14:creationId xmlns:p14="http://schemas.microsoft.com/office/powerpoint/2010/main" val="1641851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_ligh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598D0B46-B0A6-A42A-ED59-1B31201D1AB2}"/>
              </a:ext>
            </a:extLst>
          </p:cNvPr>
          <p:cNvGrpSpPr/>
          <p:nvPr userDrawn="1"/>
        </p:nvGrpSpPr>
        <p:grpSpPr>
          <a:xfrm>
            <a:off x="-2138458" y="0"/>
            <a:ext cx="1928241" cy="2880934"/>
            <a:chOff x="-2138458" y="0"/>
            <a:chExt cx="1928241" cy="2880934"/>
          </a:xfrm>
        </p:grpSpPr>
        <p:sp>
          <p:nvSpPr>
            <p:cNvPr id="27" name="Прямоугольник: скругленные углы 26">
              <a:extLst>
                <a:ext uri="{FF2B5EF4-FFF2-40B4-BE49-F238E27FC236}">
                  <a16:creationId xmlns:a16="http://schemas.microsoft.com/office/drawing/2014/main" id="{A1753B2C-76E2-A5A6-A432-B4822F053CE8}"/>
                </a:ext>
              </a:extLst>
            </p:cNvPr>
            <p:cNvSpPr/>
            <p:nvPr/>
          </p:nvSpPr>
          <p:spPr>
            <a:xfrm>
              <a:off x="-2138458" y="54865"/>
              <a:ext cx="1928241" cy="2826069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Прямоугольник: скругленные верхние углы 27">
              <a:extLst>
                <a:ext uri="{FF2B5EF4-FFF2-40B4-BE49-F238E27FC236}">
                  <a16:creationId xmlns:a16="http://schemas.microsoft.com/office/drawing/2014/main" id="{9872BA5A-3054-929B-2FEA-74D99D7CC1B7}"/>
                </a:ext>
              </a:extLst>
            </p:cNvPr>
            <p:cNvSpPr/>
            <p:nvPr/>
          </p:nvSpPr>
          <p:spPr>
            <a:xfrm>
              <a:off x="-2136930" y="0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Размеры текста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E06276D-FE9B-6C65-2089-D67EA95A44C3}"/>
                </a:ext>
              </a:extLst>
            </p:cNvPr>
            <p:cNvSpPr txBox="1"/>
            <p:nvPr/>
          </p:nvSpPr>
          <p:spPr>
            <a:xfrm>
              <a:off x="-1691344" y="2506490"/>
              <a:ext cx="1373969" cy="2428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900" b="0">
                  <a:solidFill>
                    <a:schemeClr val="accent1"/>
                  </a:solidFill>
                </a:rPr>
                <a:t>Используй эти размеры </a:t>
              </a:r>
              <a:br>
                <a:rPr lang="ru-RU" sz="900" b="0">
                  <a:solidFill>
                    <a:schemeClr val="accent1"/>
                  </a:solidFill>
                </a:rPr>
              </a:br>
              <a:r>
                <a:rPr lang="ru-RU" sz="900" b="0">
                  <a:solidFill>
                    <a:schemeClr val="accent1"/>
                  </a:solidFill>
                </a:rPr>
                <a:t>по всей презентации</a:t>
              </a:r>
            </a:p>
          </p:txBody>
        </p:sp>
        <p:sp>
          <p:nvSpPr>
            <p:cNvPr id="57" name="Полилиния: фигура 56">
              <a:extLst>
                <a:ext uri="{FF2B5EF4-FFF2-40B4-BE49-F238E27FC236}">
                  <a16:creationId xmlns:a16="http://schemas.microsoft.com/office/drawing/2014/main" id="{78DE2901-DB4C-83F6-72BC-325CB8411C2E}"/>
                </a:ext>
              </a:extLst>
            </p:cNvPr>
            <p:cNvSpPr/>
            <p:nvPr/>
          </p:nvSpPr>
          <p:spPr>
            <a:xfrm>
              <a:off x="-2004344" y="2488864"/>
              <a:ext cx="216624" cy="228657"/>
            </a:xfrm>
            <a:custGeom>
              <a:avLst/>
              <a:gdLst>
                <a:gd name="connsiteX0" fmla="*/ 72536 w 171450"/>
                <a:gd name="connsiteY0" fmla="*/ 162210 h 180974"/>
                <a:gd name="connsiteX1" fmla="*/ 98923 w 171450"/>
                <a:gd name="connsiteY1" fmla="*/ 162210 h 180974"/>
                <a:gd name="connsiteX2" fmla="*/ 103600 w 171450"/>
                <a:gd name="connsiteY2" fmla="*/ 172160 h 180974"/>
                <a:gd name="connsiteX3" fmla="*/ 85726 w 171450"/>
                <a:gd name="connsiteY3" fmla="*/ 180974 h 180974"/>
                <a:gd name="connsiteX4" fmla="*/ 67852 w 171450"/>
                <a:gd name="connsiteY4" fmla="*/ 172160 h 180974"/>
                <a:gd name="connsiteX5" fmla="*/ 72536 w 171450"/>
                <a:gd name="connsiteY5" fmla="*/ 162210 h 180974"/>
                <a:gd name="connsiteX6" fmla="*/ 152400 w 171450"/>
                <a:gd name="connsiteY6" fmla="*/ 76200 h 180974"/>
                <a:gd name="connsiteX7" fmla="*/ 161925 w 171450"/>
                <a:gd name="connsiteY7" fmla="*/ 76200 h 180974"/>
                <a:gd name="connsiteX8" fmla="*/ 171450 w 171450"/>
                <a:gd name="connsiteY8" fmla="*/ 85725 h 180974"/>
                <a:gd name="connsiteX9" fmla="*/ 161925 w 171450"/>
                <a:gd name="connsiteY9" fmla="*/ 95250 h 180974"/>
                <a:gd name="connsiteX10" fmla="*/ 152400 w 171450"/>
                <a:gd name="connsiteY10" fmla="*/ 95250 h 180974"/>
                <a:gd name="connsiteX11" fmla="*/ 142875 w 171450"/>
                <a:gd name="connsiteY11" fmla="*/ 85725 h 180974"/>
                <a:gd name="connsiteX12" fmla="*/ 152400 w 171450"/>
                <a:gd name="connsiteY12" fmla="*/ 76200 h 180974"/>
                <a:gd name="connsiteX13" fmla="*/ 9525 w 171450"/>
                <a:gd name="connsiteY13" fmla="*/ 76200 h 180974"/>
                <a:gd name="connsiteX14" fmla="*/ 19050 w 171450"/>
                <a:gd name="connsiteY14" fmla="*/ 76200 h 180974"/>
                <a:gd name="connsiteX15" fmla="*/ 28575 w 171450"/>
                <a:gd name="connsiteY15" fmla="*/ 85725 h 180974"/>
                <a:gd name="connsiteX16" fmla="*/ 19050 w 171450"/>
                <a:gd name="connsiteY16" fmla="*/ 95250 h 180974"/>
                <a:gd name="connsiteX17" fmla="*/ 9525 w 171450"/>
                <a:gd name="connsiteY17" fmla="*/ 95250 h 180974"/>
                <a:gd name="connsiteX18" fmla="*/ 0 w 171450"/>
                <a:gd name="connsiteY18" fmla="*/ 85725 h 180974"/>
                <a:gd name="connsiteX19" fmla="*/ 9525 w 171450"/>
                <a:gd name="connsiteY19" fmla="*/ 76200 h 180974"/>
                <a:gd name="connsiteX20" fmla="*/ 85725 w 171450"/>
                <a:gd name="connsiteY20" fmla="*/ 38100 h 180974"/>
                <a:gd name="connsiteX21" fmla="*/ 133350 w 171450"/>
                <a:gd name="connsiteY21" fmla="*/ 85725 h 180974"/>
                <a:gd name="connsiteX22" fmla="*/ 123174 w 171450"/>
                <a:gd name="connsiteY22" fmla="*/ 114596 h 180974"/>
                <a:gd name="connsiteX23" fmla="*/ 114300 w 171450"/>
                <a:gd name="connsiteY23" fmla="*/ 138113 h 180974"/>
                <a:gd name="connsiteX24" fmla="*/ 85725 w 171450"/>
                <a:gd name="connsiteY24" fmla="*/ 152400 h 180974"/>
                <a:gd name="connsiteX25" fmla="*/ 57150 w 171450"/>
                <a:gd name="connsiteY25" fmla="*/ 138113 h 180974"/>
                <a:gd name="connsiteX26" fmla="*/ 48275 w 171450"/>
                <a:gd name="connsiteY26" fmla="*/ 114596 h 180974"/>
                <a:gd name="connsiteX27" fmla="*/ 38100 w 171450"/>
                <a:gd name="connsiteY27" fmla="*/ 85725 h 180974"/>
                <a:gd name="connsiteX28" fmla="*/ 85725 w 171450"/>
                <a:gd name="connsiteY28" fmla="*/ 38100 h 180974"/>
                <a:gd name="connsiteX29" fmla="*/ 136141 w 171450"/>
                <a:gd name="connsiteY29" fmla="*/ 21840 h 180974"/>
                <a:gd name="connsiteX30" fmla="*/ 149611 w 171450"/>
                <a:gd name="connsiteY30" fmla="*/ 21840 h 180974"/>
                <a:gd name="connsiteX31" fmla="*/ 149611 w 171450"/>
                <a:gd name="connsiteY31" fmla="*/ 35310 h 180974"/>
                <a:gd name="connsiteX32" fmla="*/ 140086 w 171450"/>
                <a:gd name="connsiteY32" fmla="*/ 44835 h 180974"/>
                <a:gd name="connsiteX33" fmla="*/ 126616 w 171450"/>
                <a:gd name="connsiteY33" fmla="*/ 44835 h 180974"/>
                <a:gd name="connsiteX34" fmla="*/ 126616 w 171450"/>
                <a:gd name="connsiteY34" fmla="*/ 31365 h 180974"/>
                <a:gd name="connsiteX35" fmla="*/ 21840 w 171450"/>
                <a:gd name="connsiteY35" fmla="*/ 21840 h 180974"/>
                <a:gd name="connsiteX36" fmla="*/ 35310 w 171450"/>
                <a:gd name="connsiteY36" fmla="*/ 21840 h 180974"/>
                <a:gd name="connsiteX37" fmla="*/ 44835 w 171450"/>
                <a:gd name="connsiteY37" fmla="*/ 31365 h 180974"/>
                <a:gd name="connsiteX38" fmla="*/ 44835 w 171450"/>
                <a:gd name="connsiteY38" fmla="*/ 44835 h 180974"/>
                <a:gd name="connsiteX39" fmla="*/ 31365 w 171450"/>
                <a:gd name="connsiteY39" fmla="*/ 44835 h 180974"/>
                <a:gd name="connsiteX40" fmla="*/ 21840 w 171450"/>
                <a:gd name="connsiteY40" fmla="*/ 35310 h 180974"/>
                <a:gd name="connsiteX41" fmla="*/ 21840 w 171450"/>
                <a:gd name="connsiteY41" fmla="*/ 21840 h 180974"/>
                <a:gd name="connsiteX42" fmla="*/ 85725 w 171450"/>
                <a:gd name="connsiteY42" fmla="*/ 0 h 180974"/>
                <a:gd name="connsiteX43" fmla="*/ 95250 w 171450"/>
                <a:gd name="connsiteY43" fmla="*/ 9525 h 180974"/>
                <a:gd name="connsiteX44" fmla="*/ 95250 w 171450"/>
                <a:gd name="connsiteY44" fmla="*/ 19050 h 180974"/>
                <a:gd name="connsiteX45" fmla="*/ 85725 w 171450"/>
                <a:gd name="connsiteY45" fmla="*/ 28575 h 180974"/>
                <a:gd name="connsiteX46" fmla="*/ 76200 w 171450"/>
                <a:gd name="connsiteY46" fmla="*/ 19050 h 180974"/>
                <a:gd name="connsiteX47" fmla="*/ 76200 w 171450"/>
                <a:gd name="connsiteY47" fmla="*/ 9525 h 180974"/>
                <a:gd name="connsiteX48" fmla="*/ 85725 w 171450"/>
                <a:gd name="connsiteY48" fmla="*/ 0 h 18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71450" h="180974">
                  <a:moveTo>
                    <a:pt x="72536" y="162210"/>
                  </a:moveTo>
                  <a:cubicBezTo>
                    <a:pt x="80449" y="164140"/>
                    <a:pt x="90933" y="164211"/>
                    <a:pt x="98923" y="162210"/>
                  </a:cubicBezTo>
                  <a:cubicBezTo>
                    <a:pt x="105617" y="160534"/>
                    <a:pt x="105617" y="166533"/>
                    <a:pt x="103600" y="172160"/>
                  </a:cubicBezTo>
                  <a:cubicBezTo>
                    <a:pt x="100950" y="179549"/>
                    <a:pt x="95451" y="180974"/>
                    <a:pt x="85726" y="180974"/>
                  </a:cubicBezTo>
                  <a:cubicBezTo>
                    <a:pt x="76000" y="180974"/>
                    <a:pt x="70501" y="179549"/>
                    <a:pt x="67852" y="172160"/>
                  </a:cubicBezTo>
                  <a:cubicBezTo>
                    <a:pt x="65835" y="166534"/>
                    <a:pt x="65835" y="160576"/>
                    <a:pt x="72536" y="162210"/>
                  </a:cubicBezTo>
                  <a:close/>
                  <a:moveTo>
                    <a:pt x="152400" y="76200"/>
                  </a:moveTo>
                  <a:lnTo>
                    <a:pt x="161925" y="76200"/>
                  </a:lnTo>
                  <a:cubicBezTo>
                    <a:pt x="167186" y="76200"/>
                    <a:pt x="171450" y="80464"/>
                    <a:pt x="171450" y="85725"/>
                  </a:cubicBezTo>
                  <a:cubicBezTo>
                    <a:pt x="171450" y="90986"/>
                    <a:pt x="167186" y="95250"/>
                    <a:pt x="161925" y="95250"/>
                  </a:cubicBezTo>
                  <a:lnTo>
                    <a:pt x="152400" y="95250"/>
                  </a:lnTo>
                  <a:cubicBezTo>
                    <a:pt x="147139" y="95250"/>
                    <a:pt x="142875" y="90986"/>
                    <a:pt x="142875" y="85725"/>
                  </a:cubicBezTo>
                  <a:cubicBezTo>
                    <a:pt x="142875" y="80464"/>
                    <a:pt x="147139" y="76200"/>
                    <a:pt x="152400" y="76200"/>
                  </a:cubicBezTo>
                  <a:close/>
                  <a:moveTo>
                    <a:pt x="9525" y="76200"/>
                  </a:moveTo>
                  <a:lnTo>
                    <a:pt x="19050" y="76200"/>
                  </a:lnTo>
                  <a:cubicBezTo>
                    <a:pt x="24310" y="76200"/>
                    <a:pt x="28575" y="80464"/>
                    <a:pt x="28575" y="85725"/>
                  </a:cubicBezTo>
                  <a:cubicBezTo>
                    <a:pt x="28575" y="90986"/>
                    <a:pt x="24310" y="95250"/>
                    <a:pt x="19050" y="95250"/>
                  </a:cubicBezTo>
                  <a:lnTo>
                    <a:pt x="9525" y="95250"/>
                  </a:lnTo>
                  <a:cubicBezTo>
                    <a:pt x="4265" y="95250"/>
                    <a:pt x="0" y="90986"/>
                    <a:pt x="0" y="85725"/>
                  </a:cubicBezTo>
                  <a:cubicBezTo>
                    <a:pt x="0" y="80464"/>
                    <a:pt x="4265" y="76200"/>
                    <a:pt x="9525" y="76200"/>
                  </a:cubicBezTo>
                  <a:close/>
                  <a:moveTo>
                    <a:pt x="85725" y="38100"/>
                  </a:moveTo>
                  <a:cubicBezTo>
                    <a:pt x="112027" y="38100"/>
                    <a:pt x="133350" y="58671"/>
                    <a:pt x="133350" y="85725"/>
                  </a:cubicBezTo>
                  <a:cubicBezTo>
                    <a:pt x="133350" y="100663"/>
                    <a:pt x="128144" y="107793"/>
                    <a:pt x="123174" y="114596"/>
                  </a:cubicBezTo>
                  <a:cubicBezTo>
                    <a:pt x="118639" y="120807"/>
                    <a:pt x="114300" y="126748"/>
                    <a:pt x="114300" y="138113"/>
                  </a:cubicBezTo>
                  <a:cubicBezTo>
                    <a:pt x="114300" y="147638"/>
                    <a:pt x="104775" y="152400"/>
                    <a:pt x="85725" y="152400"/>
                  </a:cubicBezTo>
                  <a:cubicBezTo>
                    <a:pt x="66675" y="152400"/>
                    <a:pt x="57150" y="147638"/>
                    <a:pt x="57150" y="138113"/>
                  </a:cubicBezTo>
                  <a:cubicBezTo>
                    <a:pt x="57150" y="126748"/>
                    <a:pt x="52811" y="120807"/>
                    <a:pt x="48275" y="114596"/>
                  </a:cubicBezTo>
                  <a:cubicBezTo>
                    <a:pt x="43306" y="107793"/>
                    <a:pt x="38100" y="100663"/>
                    <a:pt x="38100" y="85725"/>
                  </a:cubicBezTo>
                  <a:cubicBezTo>
                    <a:pt x="38100" y="57150"/>
                    <a:pt x="59422" y="38100"/>
                    <a:pt x="85725" y="38100"/>
                  </a:cubicBezTo>
                  <a:close/>
                  <a:moveTo>
                    <a:pt x="136141" y="21840"/>
                  </a:moveTo>
                  <a:cubicBezTo>
                    <a:pt x="139860" y="18120"/>
                    <a:pt x="145891" y="18120"/>
                    <a:pt x="149611" y="21840"/>
                  </a:cubicBezTo>
                  <a:cubicBezTo>
                    <a:pt x="153330" y="25560"/>
                    <a:pt x="153330" y="31590"/>
                    <a:pt x="149611" y="35310"/>
                  </a:cubicBezTo>
                  <a:lnTo>
                    <a:pt x="140086" y="44835"/>
                  </a:lnTo>
                  <a:cubicBezTo>
                    <a:pt x="136366" y="48555"/>
                    <a:pt x="130335" y="48555"/>
                    <a:pt x="126616" y="44835"/>
                  </a:cubicBezTo>
                  <a:cubicBezTo>
                    <a:pt x="122896" y="41115"/>
                    <a:pt x="122896" y="35085"/>
                    <a:pt x="126616" y="31365"/>
                  </a:cubicBezTo>
                  <a:close/>
                  <a:moveTo>
                    <a:pt x="21840" y="21840"/>
                  </a:moveTo>
                  <a:cubicBezTo>
                    <a:pt x="25560" y="18120"/>
                    <a:pt x="31590" y="18120"/>
                    <a:pt x="35310" y="21840"/>
                  </a:cubicBezTo>
                  <a:lnTo>
                    <a:pt x="44835" y="31365"/>
                  </a:lnTo>
                  <a:cubicBezTo>
                    <a:pt x="48555" y="35085"/>
                    <a:pt x="48555" y="41115"/>
                    <a:pt x="44835" y="44835"/>
                  </a:cubicBezTo>
                  <a:cubicBezTo>
                    <a:pt x="41115" y="48555"/>
                    <a:pt x="35085" y="48555"/>
                    <a:pt x="31365" y="44835"/>
                  </a:cubicBezTo>
                  <a:lnTo>
                    <a:pt x="21840" y="35310"/>
                  </a:lnTo>
                  <a:cubicBezTo>
                    <a:pt x="18120" y="31590"/>
                    <a:pt x="18120" y="25560"/>
                    <a:pt x="21840" y="21840"/>
                  </a:cubicBezTo>
                  <a:close/>
                  <a:moveTo>
                    <a:pt x="85725" y="0"/>
                  </a:moveTo>
                  <a:cubicBezTo>
                    <a:pt x="90986" y="0"/>
                    <a:pt x="95250" y="4265"/>
                    <a:pt x="95250" y="9525"/>
                  </a:cubicBezTo>
                  <a:lnTo>
                    <a:pt x="95250" y="19050"/>
                  </a:lnTo>
                  <a:cubicBezTo>
                    <a:pt x="95250" y="24310"/>
                    <a:pt x="90986" y="28575"/>
                    <a:pt x="85725" y="28575"/>
                  </a:cubicBezTo>
                  <a:cubicBezTo>
                    <a:pt x="80464" y="28575"/>
                    <a:pt x="76200" y="24310"/>
                    <a:pt x="76200" y="19050"/>
                  </a:cubicBezTo>
                  <a:lnTo>
                    <a:pt x="76200" y="9525"/>
                  </a:lnTo>
                  <a:cubicBezTo>
                    <a:pt x="76200" y="4265"/>
                    <a:pt x="80464" y="0"/>
                    <a:pt x="85725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2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4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985CD6E-087D-7D18-E079-FFF35855D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49399" y="6465021"/>
            <a:ext cx="8182800" cy="144500"/>
          </a:xfrm>
        </p:spPr>
        <p:txBody>
          <a:bodyPr anchor="b"/>
          <a:lstStyle>
            <a:lvl1pPr>
              <a:defRPr sz="1000">
                <a:solidFill>
                  <a:srgbClr val="5A6C7D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1B8BF84-4C88-A2BF-3322-2EC1F81B3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rgbClr val="5A6C7D"/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/>
            </a:lvl1pPr>
          </a:lstStyle>
          <a:p>
            <a:r>
              <a:rPr lang="ru-RU"/>
              <a:t>Сформулируй заголовок </a:t>
            </a:r>
            <a:br>
              <a:rPr lang="en-US"/>
            </a:br>
            <a:r>
              <a:rPr lang="ru-RU"/>
              <a:t>слайда в 1–2 строки</a:t>
            </a:r>
          </a:p>
        </p:txBody>
      </p:sp>
      <p:sp>
        <p:nvSpPr>
          <p:cNvPr id="7" name="Рисунок 1">
            <a:extLst>
              <a:ext uri="{FF2B5EF4-FFF2-40B4-BE49-F238E27FC236}">
                <a16:creationId xmlns:a16="http://schemas.microsoft.com/office/drawing/2014/main" id="{1595D288-51AE-B2E0-47B2-F59FD62F4F42}"/>
              </a:ext>
            </a:extLst>
          </p:cNvPr>
          <p:cNvSpPr/>
          <p:nvPr/>
        </p:nvSpPr>
        <p:spPr>
          <a:xfrm>
            <a:off x="640541" y="6472839"/>
            <a:ext cx="596000" cy="128865"/>
          </a:xfrm>
          <a:custGeom>
            <a:avLst/>
            <a:gdLst>
              <a:gd name="connsiteX0" fmla="*/ 64809 w 596000"/>
              <a:gd name="connsiteY0" fmla="*/ 0 h 128865"/>
              <a:gd name="connsiteX1" fmla="*/ 0 w 596000"/>
              <a:gd name="connsiteY1" fmla="*/ 64433 h 128865"/>
              <a:gd name="connsiteX2" fmla="*/ 64809 w 596000"/>
              <a:gd name="connsiteY2" fmla="*/ 128865 h 128865"/>
              <a:gd name="connsiteX3" fmla="*/ 129619 w 596000"/>
              <a:gd name="connsiteY3" fmla="*/ 64433 h 128865"/>
              <a:gd name="connsiteX4" fmla="*/ 64809 w 596000"/>
              <a:gd name="connsiteY4" fmla="*/ 0 h 128865"/>
              <a:gd name="connsiteX5" fmla="*/ 64809 w 596000"/>
              <a:gd name="connsiteY5" fmla="*/ 99096 h 128865"/>
              <a:gd name="connsiteX6" fmla="*/ 29944 w 596000"/>
              <a:gd name="connsiteY6" fmla="*/ 64433 h 128865"/>
              <a:gd name="connsiteX7" fmla="*/ 64809 w 596000"/>
              <a:gd name="connsiteY7" fmla="*/ 29769 h 128865"/>
              <a:gd name="connsiteX8" fmla="*/ 99675 w 596000"/>
              <a:gd name="connsiteY8" fmla="*/ 64433 h 128865"/>
              <a:gd name="connsiteX9" fmla="*/ 64809 w 596000"/>
              <a:gd name="connsiteY9" fmla="*/ 99096 h 128865"/>
              <a:gd name="connsiteX10" fmla="*/ 363835 w 596000"/>
              <a:gd name="connsiteY10" fmla="*/ 0 h 128865"/>
              <a:gd name="connsiteX11" fmla="*/ 272774 w 596000"/>
              <a:gd name="connsiteY11" fmla="*/ 64433 h 128865"/>
              <a:gd name="connsiteX12" fmla="*/ 363835 w 596000"/>
              <a:gd name="connsiteY12" fmla="*/ 128865 h 128865"/>
              <a:gd name="connsiteX13" fmla="*/ 454897 w 596000"/>
              <a:gd name="connsiteY13" fmla="*/ 64433 h 128865"/>
              <a:gd name="connsiteX14" fmla="*/ 363835 w 596000"/>
              <a:gd name="connsiteY14" fmla="*/ 0 h 128865"/>
              <a:gd name="connsiteX15" fmla="*/ 363835 w 596000"/>
              <a:gd name="connsiteY15" fmla="*/ 99096 h 128865"/>
              <a:gd name="connsiteX16" fmla="*/ 303127 w 596000"/>
              <a:gd name="connsiteY16" fmla="*/ 64840 h 128865"/>
              <a:gd name="connsiteX17" fmla="*/ 363835 w 596000"/>
              <a:gd name="connsiteY17" fmla="*/ 30585 h 128865"/>
              <a:gd name="connsiteX18" fmla="*/ 424541 w 596000"/>
              <a:gd name="connsiteY18" fmla="*/ 64840 h 128865"/>
              <a:gd name="connsiteX19" fmla="*/ 363835 w 596000"/>
              <a:gd name="connsiteY19" fmla="*/ 99096 h 128865"/>
              <a:gd name="connsiteX20" fmla="*/ 580822 w 596000"/>
              <a:gd name="connsiteY20" fmla="*/ 2855 h 128865"/>
              <a:gd name="connsiteX21" fmla="*/ 565644 w 596000"/>
              <a:gd name="connsiteY21" fmla="*/ 17943 h 128865"/>
              <a:gd name="connsiteX22" fmla="*/ 565644 w 596000"/>
              <a:gd name="connsiteY22" fmla="*/ 68511 h 128865"/>
              <a:gd name="connsiteX23" fmla="*/ 483610 w 596000"/>
              <a:gd name="connsiteY23" fmla="*/ 3670 h 128865"/>
              <a:gd name="connsiteX24" fmla="*/ 476635 w 596000"/>
              <a:gd name="connsiteY24" fmla="*/ 6933 h 128865"/>
              <a:gd name="connsiteX25" fmla="*/ 476635 w 596000"/>
              <a:gd name="connsiteY25" fmla="*/ 110922 h 128865"/>
              <a:gd name="connsiteX26" fmla="*/ 491813 w 596000"/>
              <a:gd name="connsiteY26" fmla="*/ 126010 h 128865"/>
              <a:gd name="connsiteX27" fmla="*/ 506991 w 596000"/>
              <a:gd name="connsiteY27" fmla="*/ 110922 h 128865"/>
              <a:gd name="connsiteX28" fmla="*/ 506991 w 596000"/>
              <a:gd name="connsiteY28" fmla="*/ 60762 h 128865"/>
              <a:gd name="connsiteX29" fmla="*/ 589025 w 596000"/>
              <a:gd name="connsiteY29" fmla="*/ 125603 h 128865"/>
              <a:gd name="connsiteX30" fmla="*/ 596000 w 596000"/>
              <a:gd name="connsiteY30" fmla="*/ 122340 h 128865"/>
              <a:gd name="connsiteX31" fmla="*/ 596000 w 596000"/>
              <a:gd name="connsiteY31" fmla="*/ 17943 h 128865"/>
              <a:gd name="connsiteX32" fmla="*/ 580822 w 596000"/>
              <a:gd name="connsiteY32" fmla="*/ 2855 h 128865"/>
              <a:gd name="connsiteX33" fmla="*/ 248983 w 596000"/>
              <a:gd name="connsiteY33" fmla="*/ 96241 h 128865"/>
              <a:gd name="connsiteX34" fmla="*/ 197299 w 596000"/>
              <a:gd name="connsiteY34" fmla="*/ 96241 h 128865"/>
              <a:gd name="connsiteX35" fmla="*/ 262929 w 596000"/>
              <a:gd name="connsiteY35" fmla="*/ 9787 h 128865"/>
              <a:gd name="connsiteX36" fmla="*/ 259648 w 596000"/>
              <a:gd name="connsiteY36" fmla="*/ 2855 h 128865"/>
              <a:gd name="connsiteX37" fmla="*/ 164484 w 596000"/>
              <a:gd name="connsiteY37" fmla="*/ 2855 h 128865"/>
              <a:gd name="connsiteX38" fmla="*/ 149308 w 596000"/>
              <a:gd name="connsiteY38" fmla="*/ 17943 h 128865"/>
              <a:gd name="connsiteX39" fmla="*/ 164484 w 596000"/>
              <a:gd name="connsiteY39" fmla="*/ 33032 h 128865"/>
              <a:gd name="connsiteX40" fmla="*/ 207554 w 596000"/>
              <a:gd name="connsiteY40" fmla="*/ 33032 h 128865"/>
              <a:gd name="connsiteX41" fmla="*/ 141514 w 596000"/>
              <a:gd name="connsiteY41" fmla="*/ 119486 h 128865"/>
              <a:gd name="connsiteX42" fmla="*/ 145206 w 596000"/>
              <a:gd name="connsiteY42" fmla="*/ 126418 h 128865"/>
              <a:gd name="connsiteX43" fmla="*/ 248983 w 596000"/>
              <a:gd name="connsiteY43" fmla="*/ 126418 h 128865"/>
              <a:gd name="connsiteX44" fmla="*/ 264160 w 596000"/>
              <a:gd name="connsiteY44" fmla="*/ 111330 h 128865"/>
              <a:gd name="connsiteX45" fmla="*/ 248983 w 596000"/>
              <a:gd name="connsiteY45" fmla="*/ 96241 h 128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96000" h="128865">
                <a:moveTo>
                  <a:pt x="64809" y="0"/>
                </a:moveTo>
                <a:cubicBezTo>
                  <a:pt x="29123" y="0"/>
                  <a:pt x="0" y="28954"/>
                  <a:pt x="0" y="64433"/>
                </a:cubicBezTo>
                <a:cubicBezTo>
                  <a:pt x="0" y="99911"/>
                  <a:pt x="29123" y="128865"/>
                  <a:pt x="64809" y="128865"/>
                </a:cubicBezTo>
                <a:cubicBezTo>
                  <a:pt x="100906" y="128865"/>
                  <a:pt x="129619" y="99911"/>
                  <a:pt x="129619" y="64433"/>
                </a:cubicBezTo>
                <a:cubicBezTo>
                  <a:pt x="129619" y="28954"/>
                  <a:pt x="100906" y="0"/>
                  <a:pt x="64809" y="0"/>
                </a:cubicBezTo>
                <a:close/>
                <a:moveTo>
                  <a:pt x="64809" y="99096"/>
                </a:moveTo>
                <a:cubicBezTo>
                  <a:pt x="45531" y="99096"/>
                  <a:pt x="29944" y="83599"/>
                  <a:pt x="29944" y="64433"/>
                </a:cubicBezTo>
                <a:cubicBezTo>
                  <a:pt x="29944" y="45266"/>
                  <a:pt x="45531" y="29769"/>
                  <a:pt x="64809" y="29769"/>
                </a:cubicBezTo>
                <a:cubicBezTo>
                  <a:pt x="84088" y="29769"/>
                  <a:pt x="99675" y="45266"/>
                  <a:pt x="99675" y="64433"/>
                </a:cubicBezTo>
                <a:cubicBezTo>
                  <a:pt x="99675" y="83599"/>
                  <a:pt x="84088" y="99096"/>
                  <a:pt x="64809" y="99096"/>
                </a:cubicBezTo>
                <a:close/>
                <a:moveTo>
                  <a:pt x="363835" y="0"/>
                </a:moveTo>
                <a:cubicBezTo>
                  <a:pt x="313382" y="0"/>
                  <a:pt x="272774" y="28954"/>
                  <a:pt x="272774" y="64433"/>
                </a:cubicBezTo>
                <a:cubicBezTo>
                  <a:pt x="272774" y="99911"/>
                  <a:pt x="313382" y="128865"/>
                  <a:pt x="363835" y="128865"/>
                </a:cubicBezTo>
                <a:cubicBezTo>
                  <a:pt x="414288" y="128865"/>
                  <a:pt x="454897" y="99911"/>
                  <a:pt x="454897" y="64433"/>
                </a:cubicBezTo>
                <a:cubicBezTo>
                  <a:pt x="454897" y="28954"/>
                  <a:pt x="413878" y="0"/>
                  <a:pt x="363835" y="0"/>
                </a:cubicBezTo>
                <a:close/>
                <a:moveTo>
                  <a:pt x="363835" y="99096"/>
                </a:moveTo>
                <a:cubicBezTo>
                  <a:pt x="328969" y="99096"/>
                  <a:pt x="303127" y="80744"/>
                  <a:pt x="303127" y="64840"/>
                </a:cubicBezTo>
                <a:cubicBezTo>
                  <a:pt x="303127" y="48936"/>
                  <a:pt x="328969" y="30585"/>
                  <a:pt x="363835" y="30585"/>
                </a:cubicBezTo>
                <a:cubicBezTo>
                  <a:pt x="398701" y="30585"/>
                  <a:pt x="424541" y="48936"/>
                  <a:pt x="424541" y="64840"/>
                </a:cubicBezTo>
                <a:cubicBezTo>
                  <a:pt x="424541" y="80744"/>
                  <a:pt x="398290" y="99096"/>
                  <a:pt x="363835" y="99096"/>
                </a:cubicBezTo>
                <a:close/>
                <a:moveTo>
                  <a:pt x="580822" y="2855"/>
                </a:moveTo>
                <a:cubicBezTo>
                  <a:pt x="572619" y="2855"/>
                  <a:pt x="565644" y="9787"/>
                  <a:pt x="565644" y="17943"/>
                </a:cubicBezTo>
                <a:lnTo>
                  <a:pt x="565644" y="68511"/>
                </a:lnTo>
                <a:lnTo>
                  <a:pt x="483610" y="3670"/>
                </a:lnTo>
                <a:cubicBezTo>
                  <a:pt x="480738" y="1223"/>
                  <a:pt x="476635" y="3262"/>
                  <a:pt x="476635" y="6933"/>
                </a:cubicBezTo>
                <a:lnTo>
                  <a:pt x="476635" y="110922"/>
                </a:lnTo>
                <a:cubicBezTo>
                  <a:pt x="476635" y="119078"/>
                  <a:pt x="483610" y="126010"/>
                  <a:pt x="491813" y="126010"/>
                </a:cubicBezTo>
                <a:cubicBezTo>
                  <a:pt x="500016" y="126010"/>
                  <a:pt x="506991" y="119078"/>
                  <a:pt x="506991" y="110922"/>
                </a:cubicBezTo>
                <a:lnTo>
                  <a:pt x="506991" y="60762"/>
                </a:lnTo>
                <a:lnTo>
                  <a:pt x="589025" y="125603"/>
                </a:lnTo>
                <a:cubicBezTo>
                  <a:pt x="591897" y="128050"/>
                  <a:pt x="596000" y="126010"/>
                  <a:pt x="596000" y="122340"/>
                </a:cubicBezTo>
                <a:lnTo>
                  <a:pt x="596000" y="17943"/>
                </a:lnTo>
                <a:cubicBezTo>
                  <a:pt x="596000" y="9787"/>
                  <a:pt x="589025" y="2855"/>
                  <a:pt x="580822" y="2855"/>
                </a:cubicBezTo>
                <a:close/>
                <a:moveTo>
                  <a:pt x="248983" y="96241"/>
                </a:moveTo>
                <a:lnTo>
                  <a:pt x="197299" y="96241"/>
                </a:lnTo>
                <a:lnTo>
                  <a:pt x="262929" y="9787"/>
                </a:lnTo>
                <a:cubicBezTo>
                  <a:pt x="264980" y="6933"/>
                  <a:pt x="262929" y="2855"/>
                  <a:pt x="259648" y="2855"/>
                </a:cubicBezTo>
                <a:lnTo>
                  <a:pt x="164484" y="2855"/>
                </a:lnTo>
                <a:cubicBezTo>
                  <a:pt x="156281" y="2855"/>
                  <a:pt x="149308" y="9787"/>
                  <a:pt x="149308" y="17943"/>
                </a:cubicBezTo>
                <a:cubicBezTo>
                  <a:pt x="149308" y="26099"/>
                  <a:pt x="156281" y="33032"/>
                  <a:pt x="164484" y="33032"/>
                </a:cubicBezTo>
                <a:lnTo>
                  <a:pt x="207554" y="33032"/>
                </a:lnTo>
                <a:lnTo>
                  <a:pt x="141514" y="119486"/>
                </a:lnTo>
                <a:cubicBezTo>
                  <a:pt x="139463" y="122340"/>
                  <a:pt x="141514" y="126418"/>
                  <a:pt x="145206" y="126418"/>
                </a:cubicBezTo>
                <a:lnTo>
                  <a:pt x="248983" y="126418"/>
                </a:lnTo>
                <a:cubicBezTo>
                  <a:pt x="257186" y="126418"/>
                  <a:pt x="264160" y="119486"/>
                  <a:pt x="264160" y="111330"/>
                </a:cubicBezTo>
                <a:cubicBezTo>
                  <a:pt x="264160" y="103174"/>
                  <a:pt x="257186" y="96241"/>
                  <a:pt x="248983" y="96241"/>
                </a:cubicBezTo>
                <a:close/>
              </a:path>
            </a:pathLst>
          </a:custGeom>
          <a:solidFill>
            <a:schemeClr val="tx1"/>
          </a:solidFill>
          <a:ln w="399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aphicFrame>
        <p:nvGraphicFramePr>
          <p:cNvPr id="46" name="Таблица 46">
            <a:extLst>
              <a:ext uri="{FF2B5EF4-FFF2-40B4-BE49-F238E27FC236}">
                <a16:creationId xmlns:a16="http://schemas.microsoft.com/office/drawing/2014/main" id="{16AD7780-25A8-C111-96FC-5E75B5A0C42D}"/>
              </a:ext>
            </a:extLst>
          </p:cNvPr>
          <p:cNvGraphicFramePr>
            <a:graphicFrameLocks noGrp="1"/>
          </p:cNvGraphicFramePr>
          <p:nvPr/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CEFD538C-FA8E-7FEB-7646-11CBD8E487D7}"/>
              </a:ext>
            </a:extLst>
          </p:cNvPr>
          <p:cNvGrpSpPr/>
          <p:nvPr userDrawn="1"/>
        </p:nvGrpSpPr>
        <p:grpSpPr>
          <a:xfrm>
            <a:off x="-2131314" y="5782119"/>
            <a:ext cx="1928240" cy="1075881"/>
            <a:chOff x="-2131314" y="5782119"/>
            <a:chExt cx="1928240" cy="1075881"/>
          </a:xfrm>
        </p:grpSpPr>
        <p:sp>
          <p:nvSpPr>
            <p:cNvPr id="90" name="Прямоугольник: скругленные углы 89">
              <a:extLst>
                <a:ext uri="{FF2B5EF4-FFF2-40B4-BE49-F238E27FC236}">
                  <a16:creationId xmlns:a16="http://schemas.microsoft.com/office/drawing/2014/main" id="{9FBBDF2D-B6AA-7C42-E7A8-1F2C6E580F57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F9B3039A-0474-03BA-F180-3615605F4E3F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95" name="Рисунок 93">
              <a:extLst>
                <a:ext uri="{FF2B5EF4-FFF2-40B4-BE49-F238E27FC236}">
                  <a16:creationId xmlns:a16="http://schemas.microsoft.com/office/drawing/2014/main" id="{73304B93-8BA8-B417-7E41-6F569E8C14A0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9A64D423-6D96-E041-2DD6-6B8FE1A7051B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CA252D23-0362-3ABC-AED3-B98F27A20B40}"/>
              </a:ext>
            </a:extLst>
          </p:cNvPr>
          <p:cNvGrpSpPr/>
          <p:nvPr userDrawn="1"/>
        </p:nvGrpSpPr>
        <p:grpSpPr>
          <a:xfrm>
            <a:off x="-2138458" y="3070447"/>
            <a:ext cx="1928241" cy="2523683"/>
            <a:chOff x="-2138458" y="3070447"/>
            <a:chExt cx="1928241" cy="2523683"/>
          </a:xfrm>
        </p:grpSpPr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F42E0623-38F7-A50B-7CCA-8FA49D784B02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Прямоугольник: скругленные верхние углы 58">
              <a:extLst>
                <a:ext uri="{FF2B5EF4-FFF2-40B4-BE49-F238E27FC236}">
                  <a16:creationId xmlns:a16="http://schemas.microsoft.com/office/drawing/2014/main" id="{8F041766-36F9-9509-C8B4-40232A368A7F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E8DE30C-D978-9641-8FAD-C2B48D85CE79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62" name="Прямоугольник: скругленные углы 61">
              <a:extLst>
                <a:ext uri="{FF2B5EF4-FFF2-40B4-BE49-F238E27FC236}">
                  <a16:creationId xmlns:a16="http://schemas.microsoft.com/office/drawing/2014/main" id="{048EF23C-A368-A68F-C5E0-1143EA66DF21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Прямоугольник: скругленные углы 62">
              <a:extLst>
                <a:ext uri="{FF2B5EF4-FFF2-40B4-BE49-F238E27FC236}">
                  <a16:creationId xmlns:a16="http://schemas.microsoft.com/office/drawing/2014/main" id="{A71F8CBF-6A2F-812E-6B09-B4F91F87DC56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5D36134D-A530-1A43-8E23-7A1EA29FD974}"/>
                </a:ext>
              </a:extLst>
            </p:cNvPr>
            <p:cNvSpPr/>
            <p:nvPr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Прямоугольник: скругленные углы 68">
              <a:extLst>
                <a:ext uri="{FF2B5EF4-FFF2-40B4-BE49-F238E27FC236}">
                  <a16:creationId xmlns:a16="http://schemas.microsoft.com/office/drawing/2014/main" id="{48DD726A-8157-51D0-7992-ED0334CAEE15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8230E83E-9184-027A-2DD2-219E747112A8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71" name="Прямоугольник: скругленные углы 70">
              <a:extLst>
                <a:ext uri="{FF2B5EF4-FFF2-40B4-BE49-F238E27FC236}">
                  <a16:creationId xmlns:a16="http://schemas.microsoft.com/office/drawing/2014/main" id="{0C730AAB-CD5C-40B7-905D-4A580D2BC0B4}"/>
                </a:ext>
              </a:extLst>
            </p:cNvPr>
            <p:cNvSpPr/>
            <p:nvPr/>
          </p:nvSpPr>
          <p:spPr>
            <a:xfrm>
              <a:off x="-1209774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2" name="Прямоугольник: скругленные углы 71">
              <a:extLst>
                <a:ext uri="{FF2B5EF4-FFF2-40B4-BE49-F238E27FC236}">
                  <a16:creationId xmlns:a16="http://schemas.microsoft.com/office/drawing/2014/main" id="{FB72CAE4-9A5F-F061-A1FA-1E7CF355F8E5}"/>
                </a:ext>
              </a:extLst>
            </p:cNvPr>
            <p:cNvSpPr/>
            <p:nvPr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4" name="Прямоугольник: скругленные углы 73">
              <a:extLst>
                <a:ext uri="{FF2B5EF4-FFF2-40B4-BE49-F238E27FC236}">
                  <a16:creationId xmlns:a16="http://schemas.microsoft.com/office/drawing/2014/main" id="{6AA3F13C-4B77-B003-F353-8D3783FBE7AA}"/>
                </a:ext>
              </a:extLst>
            </p:cNvPr>
            <p:cNvSpPr/>
            <p:nvPr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5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Прямоугольник: скругленные углы 74">
              <a:extLst>
                <a:ext uri="{FF2B5EF4-FFF2-40B4-BE49-F238E27FC236}">
                  <a16:creationId xmlns:a16="http://schemas.microsoft.com/office/drawing/2014/main" id="{EB57B6F5-6B09-9952-5AEF-46221A63E724}"/>
                </a:ext>
              </a:extLst>
            </p:cNvPr>
            <p:cNvSpPr/>
            <p:nvPr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1"/>
                </a:solidFill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75EA4B5D-C619-1C5B-4B9C-8E37163B174C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80" name="Прямоугольник: скругленные углы 79">
              <a:extLst>
                <a:ext uri="{FF2B5EF4-FFF2-40B4-BE49-F238E27FC236}">
                  <a16:creationId xmlns:a16="http://schemas.microsoft.com/office/drawing/2014/main" id="{BB7CF2A3-0EAB-BD8F-9360-12824443E6F6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9008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3" name="Прямоугольник: скругленные углы 82">
              <a:extLst>
                <a:ext uri="{FF2B5EF4-FFF2-40B4-BE49-F238E27FC236}">
                  <a16:creationId xmlns:a16="http://schemas.microsoft.com/office/drawing/2014/main" id="{003CEAB0-FB45-E651-28CB-C992E96682AE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4" name="Прямоугольник: скругленные углы 83">
              <a:extLst>
                <a:ext uri="{FF2B5EF4-FFF2-40B4-BE49-F238E27FC236}">
                  <a16:creationId xmlns:a16="http://schemas.microsoft.com/office/drawing/2014/main" id="{D8A87001-7504-170C-42DA-1C8955C7E5E9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5" name="Прямоугольник: скругленные углы 84">
              <a:extLst>
                <a:ext uri="{FF2B5EF4-FFF2-40B4-BE49-F238E27FC236}">
                  <a16:creationId xmlns:a16="http://schemas.microsoft.com/office/drawing/2014/main" id="{4115BFEA-91B0-7165-C99B-6D9CA6EE0ECB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A6B2DE75-2183-A2E6-268C-6B4288D2864C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87" name="Прямоугольник: скругленные углы 86">
              <a:extLst>
                <a:ext uri="{FF2B5EF4-FFF2-40B4-BE49-F238E27FC236}">
                  <a16:creationId xmlns:a16="http://schemas.microsoft.com/office/drawing/2014/main" id="{2431CF80-2A6A-CDF1-7FA9-9F4FEE52EB2D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рямоугольник: скругленные углы 13">
              <a:extLst>
                <a:ext uri="{FF2B5EF4-FFF2-40B4-BE49-F238E27FC236}">
                  <a16:creationId xmlns:a16="http://schemas.microsoft.com/office/drawing/2014/main" id="{AC3E90A0-A83D-7E29-F145-AA600291AE0C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: скругленные углы 14">
              <a:extLst>
                <a:ext uri="{FF2B5EF4-FFF2-40B4-BE49-F238E27FC236}">
                  <a16:creationId xmlns:a16="http://schemas.microsoft.com/office/drawing/2014/main" id="{B99D43E0-49F1-8209-4F98-5262F28AC1A9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BCEC3CD9-44E1-EECA-E818-76B9BFE7DD61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Прямоугольник: скругленные углы 20">
              <a:extLst>
                <a:ext uri="{FF2B5EF4-FFF2-40B4-BE49-F238E27FC236}">
                  <a16:creationId xmlns:a16="http://schemas.microsoft.com/office/drawing/2014/main" id="{543906E8-9B34-89C2-4269-843FAD6EA354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Прямоугольник: скругленные углы 21">
              <a:extLst>
                <a:ext uri="{FF2B5EF4-FFF2-40B4-BE49-F238E27FC236}">
                  <a16:creationId xmlns:a16="http://schemas.microsoft.com/office/drawing/2014/main" id="{C8C80097-0ECD-AAAD-2C0F-1869371B37D0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Прямоугольник: скругленные углы 22">
              <a:extLst>
                <a:ext uri="{FF2B5EF4-FFF2-40B4-BE49-F238E27FC236}">
                  <a16:creationId xmlns:a16="http://schemas.microsoft.com/office/drawing/2014/main" id="{AB934DEE-0052-5D57-1578-12DF5ADB4828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79256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_ligh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6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4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985CD6E-087D-7D18-E079-FFF35855D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49399" y="6466120"/>
            <a:ext cx="8183564" cy="144500"/>
          </a:xfrm>
        </p:spPr>
        <p:txBody>
          <a:bodyPr anchor="b"/>
          <a:lstStyle>
            <a:lvl1pPr>
              <a:defRPr sz="1000">
                <a:solidFill>
                  <a:srgbClr val="5A6C7D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1B8BF84-4C88-A2BF-3322-2EC1F81B3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rgbClr val="5A6C7D"/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4"/>
            <a:ext cx="10910888" cy="3588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/>
            </a:lvl1pPr>
          </a:lstStyle>
          <a:p>
            <a:r>
              <a:rPr lang="ru-RU"/>
              <a:t>Сформулируй заголовок слайда в 1 строку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FAE66B39-11DA-D324-553B-5881569B31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763" y="833072"/>
            <a:ext cx="10910887" cy="358858"/>
          </a:xfrm>
        </p:spPr>
        <p:txBody>
          <a:bodyPr/>
          <a:lstStyle>
            <a:lvl1pPr>
              <a:lnSpc>
                <a:spcPct val="90000"/>
              </a:lnSpc>
              <a:defRPr sz="1800"/>
            </a:lvl1pPr>
          </a:lstStyle>
          <a:p>
            <a:pPr lvl="0"/>
            <a:r>
              <a:rPr lang="ru-RU"/>
              <a:t>Сформулируй подзаголовок в 1–2 строки</a:t>
            </a:r>
          </a:p>
        </p:txBody>
      </p:sp>
      <p:sp>
        <p:nvSpPr>
          <p:cNvPr id="75" name="Прямоугольник: скругленные углы 74">
            <a:extLst>
              <a:ext uri="{FF2B5EF4-FFF2-40B4-BE49-F238E27FC236}">
                <a16:creationId xmlns:a16="http://schemas.microsoft.com/office/drawing/2014/main" id="{DF5E2D97-5CF6-49E5-FAB9-9659DF2507A6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Прямоугольник: скругленные верхние углы 75">
            <a:extLst>
              <a:ext uri="{FF2B5EF4-FFF2-40B4-BE49-F238E27FC236}">
                <a16:creationId xmlns:a16="http://schemas.microsoft.com/office/drawing/2014/main" id="{28CEFC34-7B9B-7027-F0C6-03A2D7926408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77" name="Таблица 46">
            <a:extLst>
              <a:ext uri="{FF2B5EF4-FFF2-40B4-BE49-F238E27FC236}">
                <a16:creationId xmlns:a16="http://schemas.microsoft.com/office/drawing/2014/main" id="{0E1EE163-8104-8ED7-61EC-1B745BD881D6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78" name="TextBox 77">
            <a:extLst>
              <a:ext uri="{FF2B5EF4-FFF2-40B4-BE49-F238E27FC236}">
                <a16:creationId xmlns:a16="http://schemas.microsoft.com/office/drawing/2014/main" id="{5E880C56-CF09-F9D4-114E-504DB800D737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79" name="Полилиния: фигура 78">
            <a:extLst>
              <a:ext uri="{FF2B5EF4-FFF2-40B4-BE49-F238E27FC236}">
                <a16:creationId xmlns:a16="http://schemas.microsoft.com/office/drawing/2014/main" id="{DC17A6B4-AD4C-D614-D3EF-7B29139B7D33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B4A1057-F33A-233F-5595-FB724E57AF69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80" name="Прямоугольник: скругленные углы 79">
              <a:extLst>
                <a:ext uri="{FF2B5EF4-FFF2-40B4-BE49-F238E27FC236}">
                  <a16:creationId xmlns:a16="http://schemas.microsoft.com/office/drawing/2014/main" id="{C5D8FE0F-4F35-CB88-5CD2-C537E9CAFD95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: скругленные верхние углы 80">
              <a:extLst>
                <a:ext uri="{FF2B5EF4-FFF2-40B4-BE49-F238E27FC236}">
                  <a16:creationId xmlns:a16="http://schemas.microsoft.com/office/drawing/2014/main" id="{D766D239-FE4F-CEED-614D-0E4B000C48C2}"/>
                </a:ext>
              </a:extLst>
            </p:cNvPr>
            <p:cNvSpPr/>
            <p:nvPr userDrawn="1"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06437743-7E16-7DAB-C3BA-0185BA311E0E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83" name="Прямоугольник: скругленные углы 82">
              <a:extLst>
                <a:ext uri="{FF2B5EF4-FFF2-40B4-BE49-F238E27FC236}">
                  <a16:creationId xmlns:a16="http://schemas.microsoft.com/office/drawing/2014/main" id="{E45FF23D-3D3D-15EB-AE2D-C4E469B1A6F4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4" name="Прямоугольник: скругленные углы 83">
              <a:extLst>
                <a:ext uri="{FF2B5EF4-FFF2-40B4-BE49-F238E27FC236}">
                  <a16:creationId xmlns:a16="http://schemas.microsoft.com/office/drawing/2014/main" id="{EA806163-8F06-78C4-DB82-96B8AE97DE0F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5" name="Прямоугольник: скругленные углы 84">
              <a:extLst>
                <a:ext uri="{FF2B5EF4-FFF2-40B4-BE49-F238E27FC236}">
                  <a16:creationId xmlns:a16="http://schemas.microsoft.com/office/drawing/2014/main" id="{2080A392-32AD-388D-97F3-C88D0A2BED1C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Прямоугольник: скругленные углы 85">
              <a:extLst>
                <a:ext uri="{FF2B5EF4-FFF2-40B4-BE49-F238E27FC236}">
                  <a16:creationId xmlns:a16="http://schemas.microsoft.com/office/drawing/2014/main" id="{298EBD26-DE19-D484-2CD0-06902C8D0DE3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59A69E6A-766A-19C2-5DAF-A6AE6821990B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88" name="Прямоугольник: скругленные углы 87">
              <a:extLst>
                <a:ext uri="{FF2B5EF4-FFF2-40B4-BE49-F238E27FC236}">
                  <a16:creationId xmlns:a16="http://schemas.microsoft.com/office/drawing/2014/main" id="{74AD0FA5-FF9D-171E-B762-C2AC28E189FB}"/>
                </a:ext>
              </a:extLst>
            </p:cNvPr>
            <p:cNvSpPr/>
            <p:nvPr userDrawn="1"/>
          </p:nvSpPr>
          <p:spPr>
            <a:xfrm>
              <a:off x="-1209774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9" name="Прямоугольник: скругленные углы 88">
              <a:extLst>
                <a:ext uri="{FF2B5EF4-FFF2-40B4-BE49-F238E27FC236}">
                  <a16:creationId xmlns:a16="http://schemas.microsoft.com/office/drawing/2014/main" id="{946AC3F1-27D2-0992-42B4-E59BFEEA11C3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0" name="Прямоугольник: скругленные углы 89">
              <a:extLst>
                <a:ext uri="{FF2B5EF4-FFF2-40B4-BE49-F238E27FC236}">
                  <a16:creationId xmlns:a16="http://schemas.microsoft.com/office/drawing/2014/main" id="{D7B41491-EC30-F748-4CAD-44E0EEB6355F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5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1" name="Прямоугольник: скругленные углы 90">
              <a:extLst>
                <a:ext uri="{FF2B5EF4-FFF2-40B4-BE49-F238E27FC236}">
                  <a16:creationId xmlns:a16="http://schemas.microsoft.com/office/drawing/2014/main" id="{2A94C5CB-ECAA-4FBE-DC82-BF5CAD52432B}"/>
                </a:ext>
              </a:extLst>
            </p:cNvPr>
            <p:cNvSpPr/>
            <p:nvPr userDrawn="1"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1"/>
                </a:solidFill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A797855B-7D58-618F-1F37-B0979DC82401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93" name="Прямоугольник: скругленные углы 92">
              <a:extLst>
                <a:ext uri="{FF2B5EF4-FFF2-40B4-BE49-F238E27FC236}">
                  <a16:creationId xmlns:a16="http://schemas.microsoft.com/office/drawing/2014/main" id="{596454FB-338D-1222-E701-35077C2DA109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9008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4" name="Прямоугольник: скругленные углы 93">
              <a:extLst>
                <a:ext uri="{FF2B5EF4-FFF2-40B4-BE49-F238E27FC236}">
                  <a16:creationId xmlns:a16="http://schemas.microsoft.com/office/drawing/2014/main" id="{776BB376-7025-1604-4CEF-76D07144B41D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5" name="Прямоугольник: скругленные углы 94">
              <a:extLst>
                <a:ext uri="{FF2B5EF4-FFF2-40B4-BE49-F238E27FC236}">
                  <a16:creationId xmlns:a16="http://schemas.microsoft.com/office/drawing/2014/main" id="{04ED4BE3-EF95-2C36-E8B3-4171A9FF6D5B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6" name="Прямоугольник: скругленные углы 95">
              <a:extLst>
                <a:ext uri="{FF2B5EF4-FFF2-40B4-BE49-F238E27FC236}">
                  <a16:creationId xmlns:a16="http://schemas.microsoft.com/office/drawing/2014/main" id="{D8E79C48-EAF3-696D-817E-54EDA2C8FF69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76C966C9-6724-A43E-8CA3-6AB591CBCD52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98" name="Прямоугольник: скругленные углы 97">
              <a:extLst>
                <a:ext uri="{FF2B5EF4-FFF2-40B4-BE49-F238E27FC236}">
                  <a16:creationId xmlns:a16="http://schemas.microsoft.com/office/drawing/2014/main" id="{CB8A6FF7-1635-A9EF-9CC3-2E05ABEFD272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9" name="Прямоугольник: скругленные углы 98">
              <a:extLst>
                <a:ext uri="{FF2B5EF4-FFF2-40B4-BE49-F238E27FC236}">
                  <a16:creationId xmlns:a16="http://schemas.microsoft.com/office/drawing/2014/main" id="{62C8E22E-6A7B-7C78-6279-2145BF01EB26}"/>
                </a:ext>
              </a:extLst>
            </p:cNvPr>
            <p:cNvSpPr/>
            <p:nvPr userDrawn="1"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6FD2A5C8-4BBF-F7CE-AE02-9F85109DF61A}"/>
                </a:ext>
              </a:extLst>
            </p:cNvPr>
            <p:cNvSpPr txBox="1"/>
            <p:nvPr userDrawn="1"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101" name="Рисунок 93">
              <a:extLst>
                <a:ext uri="{FF2B5EF4-FFF2-40B4-BE49-F238E27FC236}">
                  <a16:creationId xmlns:a16="http://schemas.microsoft.com/office/drawing/2014/main" id="{3D950EF5-BA79-991F-9F49-D9A57FCACC6E}"/>
                </a:ext>
              </a:extLst>
            </p:cNvPr>
            <p:cNvSpPr/>
            <p:nvPr userDrawn="1"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B7F5D9AE-DD86-4638-B21A-807784E2DEBC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103" name="Прямоугольник: скругленные углы 102">
              <a:extLst>
                <a:ext uri="{FF2B5EF4-FFF2-40B4-BE49-F238E27FC236}">
                  <a16:creationId xmlns:a16="http://schemas.microsoft.com/office/drawing/2014/main" id="{72B6DCA7-8D31-A002-DE3E-8B2BB9325A3D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4" name="Прямоугольник: скругленные углы 103">
              <a:extLst>
                <a:ext uri="{FF2B5EF4-FFF2-40B4-BE49-F238E27FC236}">
                  <a16:creationId xmlns:a16="http://schemas.microsoft.com/office/drawing/2014/main" id="{4CA215C3-8857-9DB4-7C2C-FD263F43AA60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5" name="Прямоугольник: скругленные углы 104">
              <a:extLst>
                <a:ext uri="{FF2B5EF4-FFF2-40B4-BE49-F238E27FC236}">
                  <a16:creationId xmlns:a16="http://schemas.microsoft.com/office/drawing/2014/main" id="{D34A1810-E028-1B66-03DE-9B6365DB92C1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7" name="Прямоугольник: скругленные углы 106">
              <a:extLst>
                <a:ext uri="{FF2B5EF4-FFF2-40B4-BE49-F238E27FC236}">
                  <a16:creationId xmlns:a16="http://schemas.microsoft.com/office/drawing/2014/main" id="{A45A59D0-F306-7AE6-07B8-517FC35012B3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8" name="Прямоугольник: скругленные углы 107">
              <a:extLst>
                <a:ext uri="{FF2B5EF4-FFF2-40B4-BE49-F238E27FC236}">
                  <a16:creationId xmlns:a16="http://schemas.microsoft.com/office/drawing/2014/main" id="{60DAF657-405E-C78C-4FCB-FCEC964E5B80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9" name="Прямоугольник: скругленные углы 108">
              <a:extLst>
                <a:ext uri="{FF2B5EF4-FFF2-40B4-BE49-F238E27FC236}">
                  <a16:creationId xmlns:a16="http://schemas.microsoft.com/office/drawing/2014/main" id="{09248DA2-DAEC-4F36-6075-38C3C281EE98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9" name="Рисунок 1">
            <a:extLst>
              <a:ext uri="{FF2B5EF4-FFF2-40B4-BE49-F238E27FC236}">
                <a16:creationId xmlns:a16="http://schemas.microsoft.com/office/drawing/2014/main" id="{84BED65D-6538-7A1F-DEE6-4133F9200DC1}"/>
              </a:ext>
            </a:extLst>
          </p:cNvPr>
          <p:cNvSpPr/>
          <p:nvPr userDrawn="1"/>
        </p:nvSpPr>
        <p:spPr>
          <a:xfrm>
            <a:off x="640541" y="6472839"/>
            <a:ext cx="596000" cy="128865"/>
          </a:xfrm>
          <a:custGeom>
            <a:avLst/>
            <a:gdLst>
              <a:gd name="connsiteX0" fmla="*/ 64809 w 596000"/>
              <a:gd name="connsiteY0" fmla="*/ 0 h 128865"/>
              <a:gd name="connsiteX1" fmla="*/ 0 w 596000"/>
              <a:gd name="connsiteY1" fmla="*/ 64433 h 128865"/>
              <a:gd name="connsiteX2" fmla="*/ 64809 w 596000"/>
              <a:gd name="connsiteY2" fmla="*/ 128865 h 128865"/>
              <a:gd name="connsiteX3" fmla="*/ 129619 w 596000"/>
              <a:gd name="connsiteY3" fmla="*/ 64433 h 128865"/>
              <a:gd name="connsiteX4" fmla="*/ 64809 w 596000"/>
              <a:gd name="connsiteY4" fmla="*/ 0 h 128865"/>
              <a:gd name="connsiteX5" fmla="*/ 64809 w 596000"/>
              <a:gd name="connsiteY5" fmla="*/ 99096 h 128865"/>
              <a:gd name="connsiteX6" fmla="*/ 29944 w 596000"/>
              <a:gd name="connsiteY6" fmla="*/ 64433 h 128865"/>
              <a:gd name="connsiteX7" fmla="*/ 64809 w 596000"/>
              <a:gd name="connsiteY7" fmla="*/ 29769 h 128865"/>
              <a:gd name="connsiteX8" fmla="*/ 99675 w 596000"/>
              <a:gd name="connsiteY8" fmla="*/ 64433 h 128865"/>
              <a:gd name="connsiteX9" fmla="*/ 64809 w 596000"/>
              <a:gd name="connsiteY9" fmla="*/ 99096 h 128865"/>
              <a:gd name="connsiteX10" fmla="*/ 363835 w 596000"/>
              <a:gd name="connsiteY10" fmla="*/ 0 h 128865"/>
              <a:gd name="connsiteX11" fmla="*/ 272774 w 596000"/>
              <a:gd name="connsiteY11" fmla="*/ 64433 h 128865"/>
              <a:gd name="connsiteX12" fmla="*/ 363835 w 596000"/>
              <a:gd name="connsiteY12" fmla="*/ 128865 h 128865"/>
              <a:gd name="connsiteX13" fmla="*/ 454897 w 596000"/>
              <a:gd name="connsiteY13" fmla="*/ 64433 h 128865"/>
              <a:gd name="connsiteX14" fmla="*/ 363835 w 596000"/>
              <a:gd name="connsiteY14" fmla="*/ 0 h 128865"/>
              <a:gd name="connsiteX15" fmla="*/ 363835 w 596000"/>
              <a:gd name="connsiteY15" fmla="*/ 99096 h 128865"/>
              <a:gd name="connsiteX16" fmla="*/ 303127 w 596000"/>
              <a:gd name="connsiteY16" fmla="*/ 64840 h 128865"/>
              <a:gd name="connsiteX17" fmla="*/ 363835 w 596000"/>
              <a:gd name="connsiteY17" fmla="*/ 30585 h 128865"/>
              <a:gd name="connsiteX18" fmla="*/ 424541 w 596000"/>
              <a:gd name="connsiteY18" fmla="*/ 64840 h 128865"/>
              <a:gd name="connsiteX19" fmla="*/ 363835 w 596000"/>
              <a:gd name="connsiteY19" fmla="*/ 99096 h 128865"/>
              <a:gd name="connsiteX20" fmla="*/ 580822 w 596000"/>
              <a:gd name="connsiteY20" fmla="*/ 2855 h 128865"/>
              <a:gd name="connsiteX21" fmla="*/ 565644 w 596000"/>
              <a:gd name="connsiteY21" fmla="*/ 17943 h 128865"/>
              <a:gd name="connsiteX22" fmla="*/ 565644 w 596000"/>
              <a:gd name="connsiteY22" fmla="*/ 68511 h 128865"/>
              <a:gd name="connsiteX23" fmla="*/ 483610 w 596000"/>
              <a:gd name="connsiteY23" fmla="*/ 3670 h 128865"/>
              <a:gd name="connsiteX24" fmla="*/ 476635 w 596000"/>
              <a:gd name="connsiteY24" fmla="*/ 6933 h 128865"/>
              <a:gd name="connsiteX25" fmla="*/ 476635 w 596000"/>
              <a:gd name="connsiteY25" fmla="*/ 110922 h 128865"/>
              <a:gd name="connsiteX26" fmla="*/ 491813 w 596000"/>
              <a:gd name="connsiteY26" fmla="*/ 126010 h 128865"/>
              <a:gd name="connsiteX27" fmla="*/ 506991 w 596000"/>
              <a:gd name="connsiteY27" fmla="*/ 110922 h 128865"/>
              <a:gd name="connsiteX28" fmla="*/ 506991 w 596000"/>
              <a:gd name="connsiteY28" fmla="*/ 60762 h 128865"/>
              <a:gd name="connsiteX29" fmla="*/ 589025 w 596000"/>
              <a:gd name="connsiteY29" fmla="*/ 125603 h 128865"/>
              <a:gd name="connsiteX30" fmla="*/ 596000 w 596000"/>
              <a:gd name="connsiteY30" fmla="*/ 122340 h 128865"/>
              <a:gd name="connsiteX31" fmla="*/ 596000 w 596000"/>
              <a:gd name="connsiteY31" fmla="*/ 17943 h 128865"/>
              <a:gd name="connsiteX32" fmla="*/ 580822 w 596000"/>
              <a:gd name="connsiteY32" fmla="*/ 2855 h 128865"/>
              <a:gd name="connsiteX33" fmla="*/ 248983 w 596000"/>
              <a:gd name="connsiteY33" fmla="*/ 96241 h 128865"/>
              <a:gd name="connsiteX34" fmla="*/ 197299 w 596000"/>
              <a:gd name="connsiteY34" fmla="*/ 96241 h 128865"/>
              <a:gd name="connsiteX35" fmla="*/ 262929 w 596000"/>
              <a:gd name="connsiteY35" fmla="*/ 9787 h 128865"/>
              <a:gd name="connsiteX36" fmla="*/ 259648 w 596000"/>
              <a:gd name="connsiteY36" fmla="*/ 2855 h 128865"/>
              <a:gd name="connsiteX37" fmla="*/ 164484 w 596000"/>
              <a:gd name="connsiteY37" fmla="*/ 2855 h 128865"/>
              <a:gd name="connsiteX38" fmla="*/ 149308 w 596000"/>
              <a:gd name="connsiteY38" fmla="*/ 17943 h 128865"/>
              <a:gd name="connsiteX39" fmla="*/ 164484 w 596000"/>
              <a:gd name="connsiteY39" fmla="*/ 33032 h 128865"/>
              <a:gd name="connsiteX40" fmla="*/ 207554 w 596000"/>
              <a:gd name="connsiteY40" fmla="*/ 33032 h 128865"/>
              <a:gd name="connsiteX41" fmla="*/ 141514 w 596000"/>
              <a:gd name="connsiteY41" fmla="*/ 119486 h 128865"/>
              <a:gd name="connsiteX42" fmla="*/ 145206 w 596000"/>
              <a:gd name="connsiteY42" fmla="*/ 126418 h 128865"/>
              <a:gd name="connsiteX43" fmla="*/ 248983 w 596000"/>
              <a:gd name="connsiteY43" fmla="*/ 126418 h 128865"/>
              <a:gd name="connsiteX44" fmla="*/ 264160 w 596000"/>
              <a:gd name="connsiteY44" fmla="*/ 111330 h 128865"/>
              <a:gd name="connsiteX45" fmla="*/ 248983 w 596000"/>
              <a:gd name="connsiteY45" fmla="*/ 96241 h 128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96000" h="128865">
                <a:moveTo>
                  <a:pt x="64809" y="0"/>
                </a:moveTo>
                <a:cubicBezTo>
                  <a:pt x="29123" y="0"/>
                  <a:pt x="0" y="28954"/>
                  <a:pt x="0" y="64433"/>
                </a:cubicBezTo>
                <a:cubicBezTo>
                  <a:pt x="0" y="99911"/>
                  <a:pt x="29123" y="128865"/>
                  <a:pt x="64809" y="128865"/>
                </a:cubicBezTo>
                <a:cubicBezTo>
                  <a:pt x="100906" y="128865"/>
                  <a:pt x="129619" y="99911"/>
                  <a:pt x="129619" y="64433"/>
                </a:cubicBezTo>
                <a:cubicBezTo>
                  <a:pt x="129619" y="28954"/>
                  <a:pt x="100906" y="0"/>
                  <a:pt x="64809" y="0"/>
                </a:cubicBezTo>
                <a:close/>
                <a:moveTo>
                  <a:pt x="64809" y="99096"/>
                </a:moveTo>
                <a:cubicBezTo>
                  <a:pt x="45531" y="99096"/>
                  <a:pt x="29944" y="83599"/>
                  <a:pt x="29944" y="64433"/>
                </a:cubicBezTo>
                <a:cubicBezTo>
                  <a:pt x="29944" y="45266"/>
                  <a:pt x="45531" y="29769"/>
                  <a:pt x="64809" y="29769"/>
                </a:cubicBezTo>
                <a:cubicBezTo>
                  <a:pt x="84088" y="29769"/>
                  <a:pt x="99675" y="45266"/>
                  <a:pt x="99675" y="64433"/>
                </a:cubicBezTo>
                <a:cubicBezTo>
                  <a:pt x="99675" y="83599"/>
                  <a:pt x="84088" y="99096"/>
                  <a:pt x="64809" y="99096"/>
                </a:cubicBezTo>
                <a:close/>
                <a:moveTo>
                  <a:pt x="363835" y="0"/>
                </a:moveTo>
                <a:cubicBezTo>
                  <a:pt x="313382" y="0"/>
                  <a:pt x="272774" y="28954"/>
                  <a:pt x="272774" y="64433"/>
                </a:cubicBezTo>
                <a:cubicBezTo>
                  <a:pt x="272774" y="99911"/>
                  <a:pt x="313382" y="128865"/>
                  <a:pt x="363835" y="128865"/>
                </a:cubicBezTo>
                <a:cubicBezTo>
                  <a:pt x="414288" y="128865"/>
                  <a:pt x="454897" y="99911"/>
                  <a:pt x="454897" y="64433"/>
                </a:cubicBezTo>
                <a:cubicBezTo>
                  <a:pt x="454897" y="28954"/>
                  <a:pt x="413878" y="0"/>
                  <a:pt x="363835" y="0"/>
                </a:cubicBezTo>
                <a:close/>
                <a:moveTo>
                  <a:pt x="363835" y="99096"/>
                </a:moveTo>
                <a:cubicBezTo>
                  <a:pt x="328969" y="99096"/>
                  <a:pt x="303127" y="80744"/>
                  <a:pt x="303127" y="64840"/>
                </a:cubicBezTo>
                <a:cubicBezTo>
                  <a:pt x="303127" y="48936"/>
                  <a:pt x="328969" y="30585"/>
                  <a:pt x="363835" y="30585"/>
                </a:cubicBezTo>
                <a:cubicBezTo>
                  <a:pt x="398701" y="30585"/>
                  <a:pt x="424541" y="48936"/>
                  <a:pt x="424541" y="64840"/>
                </a:cubicBezTo>
                <a:cubicBezTo>
                  <a:pt x="424541" y="80744"/>
                  <a:pt x="398290" y="99096"/>
                  <a:pt x="363835" y="99096"/>
                </a:cubicBezTo>
                <a:close/>
                <a:moveTo>
                  <a:pt x="580822" y="2855"/>
                </a:moveTo>
                <a:cubicBezTo>
                  <a:pt x="572619" y="2855"/>
                  <a:pt x="565644" y="9787"/>
                  <a:pt x="565644" y="17943"/>
                </a:cubicBezTo>
                <a:lnTo>
                  <a:pt x="565644" y="68511"/>
                </a:lnTo>
                <a:lnTo>
                  <a:pt x="483610" y="3670"/>
                </a:lnTo>
                <a:cubicBezTo>
                  <a:pt x="480738" y="1223"/>
                  <a:pt x="476635" y="3262"/>
                  <a:pt x="476635" y="6933"/>
                </a:cubicBezTo>
                <a:lnTo>
                  <a:pt x="476635" y="110922"/>
                </a:lnTo>
                <a:cubicBezTo>
                  <a:pt x="476635" y="119078"/>
                  <a:pt x="483610" y="126010"/>
                  <a:pt x="491813" y="126010"/>
                </a:cubicBezTo>
                <a:cubicBezTo>
                  <a:pt x="500016" y="126010"/>
                  <a:pt x="506991" y="119078"/>
                  <a:pt x="506991" y="110922"/>
                </a:cubicBezTo>
                <a:lnTo>
                  <a:pt x="506991" y="60762"/>
                </a:lnTo>
                <a:lnTo>
                  <a:pt x="589025" y="125603"/>
                </a:lnTo>
                <a:cubicBezTo>
                  <a:pt x="591897" y="128050"/>
                  <a:pt x="596000" y="126010"/>
                  <a:pt x="596000" y="122340"/>
                </a:cubicBezTo>
                <a:lnTo>
                  <a:pt x="596000" y="17943"/>
                </a:lnTo>
                <a:cubicBezTo>
                  <a:pt x="596000" y="9787"/>
                  <a:pt x="589025" y="2855"/>
                  <a:pt x="580822" y="2855"/>
                </a:cubicBezTo>
                <a:close/>
                <a:moveTo>
                  <a:pt x="248983" y="96241"/>
                </a:moveTo>
                <a:lnTo>
                  <a:pt x="197299" y="96241"/>
                </a:lnTo>
                <a:lnTo>
                  <a:pt x="262929" y="9787"/>
                </a:lnTo>
                <a:cubicBezTo>
                  <a:pt x="264980" y="6933"/>
                  <a:pt x="262929" y="2855"/>
                  <a:pt x="259648" y="2855"/>
                </a:cubicBezTo>
                <a:lnTo>
                  <a:pt x="164484" y="2855"/>
                </a:lnTo>
                <a:cubicBezTo>
                  <a:pt x="156281" y="2855"/>
                  <a:pt x="149308" y="9787"/>
                  <a:pt x="149308" y="17943"/>
                </a:cubicBezTo>
                <a:cubicBezTo>
                  <a:pt x="149308" y="26099"/>
                  <a:pt x="156281" y="33032"/>
                  <a:pt x="164484" y="33032"/>
                </a:cubicBezTo>
                <a:lnTo>
                  <a:pt x="207554" y="33032"/>
                </a:lnTo>
                <a:lnTo>
                  <a:pt x="141514" y="119486"/>
                </a:lnTo>
                <a:cubicBezTo>
                  <a:pt x="139463" y="122340"/>
                  <a:pt x="141514" y="126418"/>
                  <a:pt x="145206" y="126418"/>
                </a:cubicBezTo>
                <a:lnTo>
                  <a:pt x="248983" y="126418"/>
                </a:lnTo>
                <a:cubicBezTo>
                  <a:pt x="257186" y="126418"/>
                  <a:pt x="264160" y="119486"/>
                  <a:pt x="264160" y="111330"/>
                </a:cubicBezTo>
                <a:cubicBezTo>
                  <a:pt x="264160" y="103174"/>
                  <a:pt x="257186" y="96241"/>
                  <a:pt x="248983" y="96241"/>
                </a:cubicBezTo>
                <a:close/>
              </a:path>
            </a:pathLst>
          </a:custGeom>
          <a:solidFill>
            <a:schemeClr val="tx1"/>
          </a:solidFill>
          <a:ln w="399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4907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_title_ligh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0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4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/>
            </a:lvl1pPr>
            <a:lvl2pPr>
              <a:lnSpc>
                <a:spcPct val="100000"/>
              </a:lnSpc>
              <a:spcAft>
                <a:spcPts val="1200"/>
              </a:spcAft>
              <a:defRPr sz="2400"/>
            </a:lvl2pPr>
            <a:lvl3pPr>
              <a:lnSpc>
                <a:spcPct val="100000"/>
              </a:lnSpc>
              <a:spcAft>
                <a:spcPts val="1200"/>
              </a:spcAft>
              <a:defRPr sz="2400"/>
            </a:lvl3pPr>
            <a:lvl4pPr>
              <a:lnSpc>
                <a:spcPct val="100000"/>
              </a:lnSpc>
              <a:spcAft>
                <a:spcPts val="1200"/>
              </a:spcAft>
              <a:defRPr sz="2400"/>
            </a:lvl4pPr>
            <a:lvl5pPr>
              <a:lnSpc>
                <a:spcPct val="100000"/>
              </a:lnSpc>
              <a:spcAft>
                <a:spcPts val="1200"/>
              </a:spcAft>
              <a:defRPr sz="24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99" y="420493"/>
            <a:ext cx="10910888" cy="783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2000"/>
              </a:lnSpc>
              <a:defRPr sz="4400" spc="-30" baseline="0"/>
            </a:lvl1pPr>
          </a:lstStyle>
          <a:p>
            <a:r>
              <a:rPr lang="ru-RU"/>
              <a:t>Заголовок слайда в 1 строку</a:t>
            </a:r>
          </a:p>
        </p:txBody>
      </p:sp>
      <p:sp>
        <p:nvSpPr>
          <p:cNvPr id="38" name="Прямоугольник: скругленные углы 37">
            <a:extLst>
              <a:ext uri="{FF2B5EF4-FFF2-40B4-BE49-F238E27FC236}">
                <a16:creationId xmlns:a16="http://schemas.microsoft.com/office/drawing/2014/main" id="{7B5F198A-2559-F2F6-5327-6954972E8252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: скругленные верхние углы 38">
            <a:extLst>
              <a:ext uri="{FF2B5EF4-FFF2-40B4-BE49-F238E27FC236}">
                <a16:creationId xmlns:a16="http://schemas.microsoft.com/office/drawing/2014/main" id="{7F566F0E-F78F-3D2D-3421-869755AFA559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40" name="Таблица 46">
            <a:extLst>
              <a:ext uri="{FF2B5EF4-FFF2-40B4-BE49-F238E27FC236}">
                <a16:creationId xmlns:a16="http://schemas.microsoft.com/office/drawing/2014/main" id="{90C90852-1187-6692-C182-38F701835EF4}"/>
              </a:ext>
            </a:extLst>
          </p:cNvPr>
          <p:cNvGraphicFramePr>
            <a:graphicFrameLocks noGrp="1"/>
          </p:cNvGraphicFramePr>
          <p:nvPr/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5</a:t>
                      </a:r>
                      <a:r>
                        <a:rPr lang="ru-RU" sz="1200" b="1"/>
                        <a:t>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44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32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en-US" sz="1200" b="1"/>
                        <a:t>24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</a:t>
                      </a:r>
                      <a:r>
                        <a:rPr lang="en-US" sz="1200" b="1"/>
                        <a:t>8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8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4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2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41" name="Полилиния: фигура 40">
            <a:extLst>
              <a:ext uri="{FF2B5EF4-FFF2-40B4-BE49-F238E27FC236}">
                <a16:creationId xmlns:a16="http://schemas.microsoft.com/office/drawing/2014/main" id="{16881EB9-3774-1E79-046E-FF7CB7E5BD8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575B971-17FB-73BD-BC0C-C9F8A9DB1D14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09905F02-AA08-74B3-07FA-C5D8DFF8FEE1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EC3E8380-6F50-84C3-085E-B9527151795D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Прямоугольник: скругленные верхние углы 42">
              <a:extLst>
                <a:ext uri="{FF2B5EF4-FFF2-40B4-BE49-F238E27FC236}">
                  <a16:creationId xmlns:a16="http://schemas.microsoft.com/office/drawing/2014/main" id="{36C3850C-C55D-0AE4-FFF1-DCFAFBCD4C40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12DCA779-A81E-2BC1-4B50-0EC3A2050DFC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45" name="Прямоугольник: скругленные углы 44">
              <a:extLst>
                <a:ext uri="{FF2B5EF4-FFF2-40B4-BE49-F238E27FC236}">
                  <a16:creationId xmlns:a16="http://schemas.microsoft.com/office/drawing/2014/main" id="{1DB51FD8-47D0-E438-F96A-1970AE7A1C95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Прямоугольник: скругленные углы 45">
              <a:extLst>
                <a:ext uri="{FF2B5EF4-FFF2-40B4-BE49-F238E27FC236}">
                  <a16:creationId xmlns:a16="http://schemas.microsoft.com/office/drawing/2014/main" id="{BEB4B5C5-2EDD-2B66-28F3-53C410FD5ECC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Прямоугольник: скругленные углы 46">
              <a:extLst>
                <a:ext uri="{FF2B5EF4-FFF2-40B4-BE49-F238E27FC236}">
                  <a16:creationId xmlns:a16="http://schemas.microsoft.com/office/drawing/2014/main" id="{14139FE9-F15C-389B-3A67-32912F6CCE89}"/>
                </a:ext>
              </a:extLst>
            </p:cNvPr>
            <p:cNvSpPr/>
            <p:nvPr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Прямоугольник: скругленные углы 47">
              <a:extLst>
                <a:ext uri="{FF2B5EF4-FFF2-40B4-BE49-F238E27FC236}">
                  <a16:creationId xmlns:a16="http://schemas.microsoft.com/office/drawing/2014/main" id="{B7BAA8FC-EC4E-DFC0-B02A-9C55EFF8A741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4826134D-A981-270A-0314-28BCFC8D0364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50" name="Прямоугольник: скругленные углы 49">
              <a:extLst>
                <a:ext uri="{FF2B5EF4-FFF2-40B4-BE49-F238E27FC236}">
                  <a16:creationId xmlns:a16="http://schemas.microsoft.com/office/drawing/2014/main" id="{87DB188E-BD47-CC8A-8285-38719DF6051C}"/>
                </a:ext>
              </a:extLst>
            </p:cNvPr>
            <p:cNvSpPr/>
            <p:nvPr/>
          </p:nvSpPr>
          <p:spPr>
            <a:xfrm>
              <a:off x="-1209774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Прямоугольник: скругленные углы 50">
              <a:extLst>
                <a:ext uri="{FF2B5EF4-FFF2-40B4-BE49-F238E27FC236}">
                  <a16:creationId xmlns:a16="http://schemas.microsoft.com/office/drawing/2014/main" id="{CD053328-B569-F851-B446-68B53DDFFABF}"/>
                </a:ext>
              </a:extLst>
            </p:cNvPr>
            <p:cNvSpPr/>
            <p:nvPr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Прямоугольник: скругленные углы 51">
              <a:extLst>
                <a:ext uri="{FF2B5EF4-FFF2-40B4-BE49-F238E27FC236}">
                  <a16:creationId xmlns:a16="http://schemas.microsoft.com/office/drawing/2014/main" id="{3EE0DFA0-BC07-E4E5-7629-3D87F248C5CA}"/>
                </a:ext>
              </a:extLst>
            </p:cNvPr>
            <p:cNvSpPr/>
            <p:nvPr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5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5D922B5E-4C2B-45FE-2FD5-619A07D94EF2}"/>
                </a:ext>
              </a:extLst>
            </p:cNvPr>
            <p:cNvSpPr/>
            <p:nvPr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1"/>
                </a:solidFill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90C6A0AF-A68E-4EEC-11C5-3771318F077A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1321C4C6-68D2-797B-5CB6-581350B43FD0}"/>
                </a:ext>
              </a:extLst>
            </p:cNvPr>
            <p:cNvSpPr/>
            <p:nvPr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9008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Прямоугольник: скругленные углы 55">
              <a:extLst>
                <a:ext uri="{FF2B5EF4-FFF2-40B4-BE49-F238E27FC236}">
                  <a16:creationId xmlns:a16="http://schemas.microsoft.com/office/drawing/2014/main" id="{0AAB1487-559B-CF89-4CB4-887AFEFA8E99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FA57D2E2-2061-7DFE-8841-6A08E296E1A7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AC053AE7-DA8A-4D4C-8A94-58E464E41499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30720F2F-F525-0C98-F10F-1D821F371CB9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60" name="Прямоугольник: скругленные углы 59">
              <a:extLst>
                <a:ext uri="{FF2B5EF4-FFF2-40B4-BE49-F238E27FC236}">
                  <a16:creationId xmlns:a16="http://schemas.microsoft.com/office/drawing/2014/main" id="{FE5029A0-90C8-51EF-30AB-02ACCCCD1967}"/>
                </a:ext>
              </a:extLst>
            </p:cNvPr>
            <p:cNvSpPr/>
            <p:nvPr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1" name="Прямоугольник: скругленные углы 60">
              <a:extLst>
                <a:ext uri="{FF2B5EF4-FFF2-40B4-BE49-F238E27FC236}">
                  <a16:creationId xmlns:a16="http://schemas.microsoft.com/office/drawing/2014/main" id="{226CE74D-4C18-B61E-9A4F-26695F511B42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528F11B5-BD14-6C8C-0258-1C532D3BCE94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65" name="Рисунок 93">
              <a:extLst>
                <a:ext uri="{FF2B5EF4-FFF2-40B4-BE49-F238E27FC236}">
                  <a16:creationId xmlns:a16="http://schemas.microsoft.com/office/drawing/2014/main" id="{D47CB486-7F70-E197-83E8-C6358EE709B5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ED50E497-0847-8ACE-8737-1FFC73B9A464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9" name="Прямоугольник: скругленные углы 68">
              <a:extLst>
                <a:ext uri="{FF2B5EF4-FFF2-40B4-BE49-F238E27FC236}">
                  <a16:creationId xmlns:a16="http://schemas.microsoft.com/office/drawing/2014/main" id="{B8046652-4E7B-AEDD-90AB-926FF3BFBA37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Прямоугольник: скругленные углы 69">
              <a:extLst>
                <a:ext uri="{FF2B5EF4-FFF2-40B4-BE49-F238E27FC236}">
                  <a16:creationId xmlns:a16="http://schemas.microsoft.com/office/drawing/2014/main" id="{4A29EE5B-52BC-0741-3F38-8F589EFA8462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Прямоугольник: скругленные углы 70">
              <a:extLst>
                <a:ext uri="{FF2B5EF4-FFF2-40B4-BE49-F238E27FC236}">
                  <a16:creationId xmlns:a16="http://schemas.microsoft.com/office/drawing/2014/main" id="{1A943F2E-59A4-5AB1-C0F8-C8081258AEA4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рямоугольник: скругленные углы 13">
              <a:extLst>
                <a:ext uri="{FF2B5EF4-FFF2-40B4-BE49-F238E27FC236}">
                  <a16:creationId xmlns:a16="http://schemas.microsoft.com/office/drawing/2014/main" id="{87F859EA-D2B9-60C4-43A0-2AA0C2B4EFC1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: скругленные углы 14">
              <a:extLst>
                <a:ext uri="{FF2B5EF4-FFF2-40B4-BE49-F238E27FC236}">
                  <a16:creationId xmlns:a16="http://schemas.microsoft.com/office/drawing/2014/main" id="{9956B734-3B95-C8F1-0585-35A0E910647C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C41A8311-8CE1-8247-60B5-2EC334CAA705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: скругленные углы 16">
              <a:extLst>
                <a:ext uri="{FF2B5EF4-FFF2-40B4-BE49-F238E27FC236}">
                  <a16:creationId xmlns:a16="http://schemas.microsoft.com/office/drawing/2014/main" id="{4C0E606B-8268-DF9D-E655-B024AB7199F3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: скругленные углы 18">
              <a:extLst>
                <a:ext uri="{FF2B5EF4-FFF2-40B4-BE49-F238E27FC236}">
                  <a16:creationId xmlns:a16="http://schemas.microsoft.com/office/drawing/2014/main" id="{86CAE805-4C53-FDB6-2E9F-FD145BA8C41D}"/>
                </a:ext>
              </a:extLst>
            </p:cNvPr>
            <p:cNvSpPr/>
            <p:nvPr userDrawn="1"/>
          </p:nvSpPr>
          <p:spPr>
            <a:xfrm>
              <a:off x="-1209774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Прямоугольник: скругленные углы 19">
              <a:extLst>
                <a:ext uri="{FF2B5EF4-FFF2-40B4-BE49-F238E27FC236}">
                  <a16:creationId xmlns:a16="http://schemas.microsoft.com/office/drawing/2014/main" id="{51D57DA2-5887-C201-F46B-A6193182F9F9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Прямоугольник: скругленные углы 20">
              <a:extLst>
                <a:ext uri="{FF2B5EF4-FFF2-40B4-BE49-F238E27FC236}">
                  <a16:creationId xmlns:a16="http://schemas.microsoft.com/office/drawing/2014/main" id="{14CF8F89-7A42-D443-04E8-8A4131393383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5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Прямоугольник: скругленные углы 21">
              <a:extLst>
                <a:ext uri="{FF2B5EF4-FFF2-40B4-BE49-F238E27FC236}">
                  <a16:creationId xmlns:a16="http://schemas.microsoft.com/office/drawing/2014/main" id="{577BB4BE-5A49-2430-33C4-EF42188BA484}"/>
                </a:ext>
              </a:extLst>
            </p:cNvPr>
            <p:cNvSpPr/>
            <p:nvPr userDrawn="1"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1"/>
                </a:solidFill>
              </a:endParaRPr>
            </a:p>
          </p:txBody>
        </p:sp>
        <p:sp>
          <p:nvSpPr>
            <p:cNvPr id="24" name="Прямоугольник: скругленные углы 23">
              <a:extLst>
                <a:ext uri="{FF2B5EF4-FFF2-40B4-BE49-F238E27FC236}">
                  <a16:creationId xmlns:a16="http://schemas.microsoft.com/office/drawing/2014/main" id="{76E8A6B1-C045-B0CA-353E-7F48F886A657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9008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: скругленные углы 24">
              <a:extLst>
                <a:ext uri="{FF2B5EF4-FFF2-40B4-BE49-F238E27FC236}">
                  <a16:creationId xmlns:a16="http://schemas.microsoft.com/office/drawing/2014/main" id="{F07EFC83-094F-AE0F-806D-921731A3B5EA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Прямоугольник: скругленные углы 25">
              <a:extLst>
                <a:ext uri="{FF2B5EF4-FFF2-40B4-BE49-F238E27FC236}">
                  <a16:creationId xmlns:a16="http://schemas.microsoft.com/office/drawing/2014/main" id="{2C45EB8E-F7DB-D125-102F-4114DFE29F9C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: скругленные углы 26">
              <a:extLst>
                <a:ext uri="{FF2B5EF4-FFF2-40B4-BE49-F238E27FC236}">
                  <a16:creationId xmlns:a16="http://schemas.microsoft.com/office/drawing/2014/main" id="{70C3FB20-C30C-D4BB-D71F-7B34BCEC426B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Прямоугольник: скругленные углы 28">
              <a:extLst>
                <a:ext uri="{FF2B5EF4-FFF2-40B4-BE49-F238E27FC236}">
                  <a16:creationId xmlns:a16="http://schemas.microsoft.com/office/drawing/2014/main" id="{C6A0E2A6-B0A4-8AAA-ACC2-4F463CEC0B53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Прямоугольник: скругленные углы 36">
              <a:extLst>
                <a:ext uri="{FF2B5EF4-FFF2-40B4-BE49-F238E27FC236}">
                  <a16:creationId xmlns:a16="http://schemas.microsoft.com/office/drawing/2014/main" id="{19FDF446-854F-04EF-EBA9-F6BF9AC83390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Прямоугольник: скругленные углы 62">
              <a:extLst>
                <a:ext uri="{FF2B5EF4-FFF2-40B4-BE49-F238E27FC236}">
                  <a16:creationId xmlns:a16="http://schemas.microsoft.com/office/drawing/2014/main" id="{DA2D2B25-50F4-59D1-A919-080D1079C243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F85A54A5-B234-2A03-3493-0E4E089CF1B9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37F91FFE-0848-C32B-3DE7-253AE66324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rgbClr val="5A6C7D"/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Рисунок 1">
            <a:extLst>
              <a:ext uri="{FF2B5EF4-FFF2-40B4-BE49-F238E27FC236}">
                <a16:creationId xmlns:a16="http://schemas.microsoft.com/office/drawing/2014/main" id="{FC3FFA5C-C75B-AE13-5F9B-5E4DB2C9C454}"/>
              </a:ext>
            </a:extLst>
          </p:cNvPr>
          <p:cNvSpPr/>
          <p:nvPr userDrawn="1"/>
        </p:nvSpPr>
        <p:spPr>
          <a:xfrm>
            <a:off x="640541" y="6472839"/>
            <a:ext cx="596000" cy="128865"/>
          </a:xfrm>
          <a:custGeom>
            <a:avLst/>
            <a:gdLst>
              <a:gd name="connsiteX0" fmla="*/ 64809 w 596000"/>
              <a:gd name="connsiteY0" fmla="*/ 0 h 128865"/>
              <a:gd name="connsiteX1" fmla="*/ 0 w 596000"/>
              <a:gd name="connsiteY1" fmla="*/ 64433 h 128865"/>
              <a:gd name="connsiteX2" fmla="*/ 64809 w 596000"/>
              <a:gd name="connsiteY2" fmla="*/ 128865 h 128865"/>
              <a:gd name="connsiteX3" fmla="*/ 129619 w 596000"/>
              <a:gd name="connsiteY3" fmla="*/ 64433 h 128865"/>
              <a:gd name="connsiteX4" fmla="*/ 64809 w 596000"/>
              <a:gd name="connsiteY4" fmla="*/ 0 h 128865"/>
              <a:gd name="connsiteX5" fmla="*/ 64809 w 596000"/>
              <a:gd name="connsiteY5" fmla="*/ 99096 h 128865"/>
              <a:gd name="connsiteX6" fmla="*/ 29944 w 596000"/>
              <a:gd name="connsiteY6" fmla="*/ 64433 h 128865"/>
              <a:gd name="connsiteX7" fmla="*/ 64809 w 596000"/>
              <a:gd name="connsiteY7" fmla="*/ 29769 h 128865"/>
              <a:gd name="connsiteX8" fmla="*/ 99675 w 596000"/>
              <a:gd name="connsiteY8" fmla="*/ 64433 h 128865"/>
              <a:gd name="connsiteX9" fmla="*/ 64809 w 596000"/>
              <a:gd name="connsiteY9" fmla="*/ 99096 h 128865"/>
              <a:gd name="connsiteX10" fmla="*/ 363835 w 596000"/>
              <a:gd name="connsiteY10" fmla="*/ 0 h 128865"/>
              <a:gd name="connsiteX11" fmla="*/ 272774 w 596000"/>
              <a:gd name="connsiteY11" fmla="*/ 64433 h 128865"/>
              <a:gd name="connsiteX12" fmla="*/ 363835 w 596000"/>
              <a:gd name="connsiteY12" fmla="*/ 128865 h 128865"/>
              <a:gd name="connsiteX13" fmla="*/ 454897 w 596000"/>
              <a:gd name="connsiteY13" fmla="*/ 64433 h 128865"/>
              <a:gd name="connsiteX14" fmla="*/ 363835 w 596000"/>
              <a:gd name="connsiteY14" fmla="*/ 0 h 128865"/>
              <a:gd name="connsiteX15" fmla="*/ 363835 w 596000"/>
              <a:gd name="connsiteY15" fmla="*/ 99096 h 128865"/>
              <a:gd name="connsiteX16" fmla="*/ 303127 w 596000"/>
              <a:gd name="connsiteY16" fmla="*/ 64840 h 128865"/>
              <a:gd name="connsiteX17" fmla="*/ 363835 w 596000"/>
              <a:gd name="connsiteY17" fmla="*/ 30585 h 128865"/>
              <a:gd name="connsiteX18" fmla="*/ 424541 w 596000"/>
              <a:gd name="connsiteY18" fmla="*/ 64840 h 128865"/>
              <a:gd name="connsiteX19" fmla="*/ 363835 w 596000"/>
              <a:gd name="connsiteY19" fmla="*/ 99096 h 128865"/>
              <a:gd name="connsiteX20" fmla="*/ 580822 w 596000"/>
              <a:gd name="connsiteY20" fmla="*/ 2855 h 128865"/>
              <a:gd name="connsiteX21" fmla="*/ 565644 w 596000"/>
              <a:gd name="connsiteY21" fmla="*/ 17943 h 128865"/>
              <a:gd name="connsiteX22" fmla="*/ 565644 w 596000"/>
              <a:gd name="connsiteY22" fmla="*/ 68511 h 128865"/>
              <a:gd name="connsiteX23" fmla="*/ 483610 w 596000"/>
              <a:gd name="connsiteY23" fmla="*/ 3670 h 128865"/>
              <a:gd name="connsiteX24" fmla="*/ 476635 w 596000"/>
              <a:gd name="connsiteY24" fmla="*/ 6933 h 128865"/>
              <a:gd name="connsiteX25" fmla="*/ 476635 w 596000"/>
              <a:gd name="connsiteY25" fmla="*/ 110922 h 128865"/>
              <a:gd name="connsiteX26" fmla="*/ 491813 w 596000"/>
              <a:gd name="connsiteY26" fmla="*/ 126010 h 128865"/>
              <a:gd name="connsiteX27" fmla="*/ 506991 w 596000"/>
              <a:gd name="connsiteY27" fmla="*/ 110922 h 128865"/>
              <a:gd name="connsiteX28" fmla="*/ 506991 w 596000"/>
              <a:gd name="connsiteY28" fmla="*/ 60762 h 128865"/>
              <a:gd name="connsiteX29" fmla="*/ 589025 w 596000"/>
              <a:gd name="connsiteY29" fmla="*/ 125603 h 128865"/>
              <a:gd name="connsiteX30" fmla="*/ 596000 w 596000"/>
              <a:gd name="connsiteY30" fmla="*/ 122340 h 128865"/>
              <a:gd name="connsiteX31" fmla="*/ 596000 w 596000"/>
              <a:gd name="connsiteY31" fmla="*/ 17943 h 128865"/>
              <a:gd name="connsiteX32" fmla="*/ 580822 w 596000"/>
              <a:gd name="connsiteY32" fmla="*/ 2855 h 128865"/>
              <a:gd name="connsiteX33" fmla="*/ 248983 w 596000"/>
              <a:gd name="connsiteY33" fmla="*/ 96241 h 128865"/>
              <a:gd name="connsiteX34" fmla="*/ 197299 w 596000"/>
              <a:gd name="connsiteY34" fmla="*/ 96241 h 128865"/>
              <a:gd name="connsiteX35" fmla="*/ 262929 w 596000"/>
              <a:gd name="connsiteY35" fmla="*/ 9787 h 128865"/>
              <a:gd name="connsiteX36" fmla="*/ 259648 w 596000"/>
              <a:gd name="connsiteY36" fmla="*/ 2855 h 128865"/>
              <a:gd name="connsiteX37" fmla="*/ 164484 w 596000"/>
              <a:gd name="connsiteY37" fmla="*/ 2855 h 128865"/>
              <a:gd name="connsiteX38" fmla="*/ 149308 w 596000"/>
              <a:gd name="connsiteY38" fmla="*/ 17943 h 128865"/>
              <a:gd name="connsiteX39" fmla="*/ 164484 w 596000"/>
              <a:gd name="connsiteY39" fmla="*/ 33032 h 128865"/>
              <a:gd name="connsiteX40" fmla="*/ 207554 w 596000"/>
              <a:gd name="connsiteY40" fmla="*/ 33032 h 128865"/>
              <a:gd name="connsiteX41" fmla="*/ 141514 w 596000"/>
              <a:gd name="connsiteY41" fmla="*/ 119486 h 128865"/>
              <a:gd name="connsiteX42" fmla="*/ 145206 w 596000"/>
              <a:gd name="connsiteY42" fmla="*/ 126418 h 128865"/>
              <a:gd name="connsiteX43" fmla="*/ 248983 w 596000"/>
              <a:gd name="connsiteY43" fmla="*/ 126418 h 128865"/>
              <a:gd name="connsiteX44" fmla="*/ 264160 w 596000"/>
              <a:gd name="connsiteY44" fmla="*/ 111330 h 128865"/>
              <a:gd name="connsiteX45" fmla="*/ 248983 w 596000"/>
              <a:gd name="connsiteY45" fmla="*/ 96241 h 128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96000" h="128865">
                <a:moveTo>
                  <a:pt x="64809" y="0"/>
                </a:moveTo>
                <a:cubicBezTo>
                  <a:pt x="29123" y="0"/>
                  <a:pt x="0" y="28954"/>
                  <a:pt x="0" y="64433"/>
                </a:cubicBezTo>
                <a:cubicBezTo>
                  <a:pt x="0" y="99911"/>
                  <a:pt x="29123" y="128865"/>
                  <a:pt x="64809" y="128865"/>
                </a:cubicBezTo>
                <a:cubicBezTo>
                  <a:pt x="100906" y="128865"/>
                  <a:pt x="129619" y="99911"/>
                  <a:pt x="129619" y="64433"/>
                </a:cubicBezTo>
                <a:cubicBezTo>
                  <a:pt x="129619" y="28954"/>
                  <a:pt x="100906" y="0"/>
                  <a:pt x="64809" y="0"/>
                </a:cubicBezTo>
                <a:close/>
                <a:moveTo>
                  <a:pt x="64809" y="99096"/>
                </a:moveTo>
                <a:cubicBezTo>
                  <a:pt x="45531" y="99096"/>
                  <a:pt x="29944" y="83599"/>
                  <a:pt x="29944" y="64433"/>
                </a:cubicBezTo>
                <a:cubicBezTo>
                  <a:pt x="29944" y="45266"/>
                  <a:pt x="45531" y="29769"/>
                  <a:pt x="64809" y="29769"/>
                </a:cubicBezTo>
                <a:cubicBezTo>
                  <a:pt x="84088" y="29769"/>
                  <a:pt x="99675" y="45266"/>
                  <a:pt x="99675" y="64433"/>
                </a:cubicBezTo>
                <a:cubicBezTo>
                  <a:pt x="99675" y="83599"/>
                  <a:pt x="84088" y="99096"/>
                  <a:pt x="64809" y="99096"/>
                </a:cubicBezTo>
                <a:close/>
                <a:moveTo>
                  <a:pt x="363835" y="0"/>
                </a:moveTo>
                <a:cubicBezTo>
                  <a:pt x="313382" y="0"/>
                  <a:pt x="272774" y="28954"/>
                  <a:pt x="272774" y="64433"/>
                </a:cubicBezTo>
                <a:cubicBezTo>
                  <a:pt x="272774" y="99911"/>
                  <a:pt x="313382" y="128865"/>
                  <a:pt x="363835" y="128865"/>
                </a:cubicBezTo>
                <a:cubicBezTo>
                  <a:pt x="414288" y="128865"/>
                  <a:pt x="454897" y="99911"/>
                  <a:pt x="454897" y="64433"/>
                </a:cubicBezTo>
                <a:cubicBezTo>
                  <a:pt x="454897" y="28954"/>
                  <a:pt x="413878" y="0"/>
                  <a:pt x="363835" y="0"/>
                </a:cubicBezTo>
                <a:close/>
                <a:moveTo>
                  <a:pt x="363835" y="99096"/>
                </a:moveTo>
                <a:cubicBezTo>
                  <a:pt x="328969" y="99096"/>
                  <a:pt x="303127" y="80744"/>
                  <a:pt x="303127" y="64840"/>
                </a:cubicBezTo>
                <a:cubicBezTo>
                  <a:pt x="303127" y="48936"/>
                  <a:pt x="328969" y="30585"/>
                  <a:pt x="363835" y="30585"/>
                </a:cubicBezTo>
                <a:cubicBezTo>
                  <a:pt x="398701" y="30585"/>
                  <a:pt x="424541" y="48936"/>
                  <a:pt x="424541" y="64840"/>
                </a:cubicBezTo>
                <a:cubicBezTo>
                  <a:pt x="424541" y="80744"/>
                  <a:pt x="398290" y="99096"/>
                  <a:pt x="363835" y="99096"/>
                </a:cubicBezTo>
                <a:close/>
                <a:moveTo>
                  <a:pt x="580822" y="2855"/>
                </a:moveTo>
                <a:cubicBezTo>
                  <a:pt x="572619" y="2855"/>
                  <a:pt x="565644" y="9787"/>
                  <a:pt x="565644" y="17943"/>
                </a:cubicBezTo>
                <a:lnTo>
                  <a:pt x="565644" y="68511"/>
                </a:lnTo>
                <a:lnTo>
                  <a:pt x="483610" y="3670"/>
                </a:lnTo>
                <a:cubicBezTo>
                  <a:pt x="480738" y="1223"/>
                  <a:pt x="476635" y="3262"/>
                  <a:pt x="476635" y="6933"/>
                </a:cubicBezTo>
                <a:lnTo>
                  <a:pt x="476635" y="110922"/>
                </a:lnTo>
                <a:cubicBezTo>
                  <a:pt x="476635" y="119078"/>
                  <a:pt x="483610" y="126010"/>
                  <a:pt x="491813" y="126010"/>
                </a:cubicBezTo>
                <a:cubicBezTo>
                  <a:pt x="500016" y="126010"/>
                  <a:pt x="506991" y="119078"/>
                  <a:pt x="506991" y="110922"/>
                </a:cubicBezTo>
                <a:lnTo>
                  <a:pt x="506991" y="60762"/>
                </a:lnTo>
                <a:lnTo>
                  <a:pt x="589025" y="125603"/>
                </a:lnTo>
                <a:cubicBezTo>
                  <a:pt x="591897" y="128050"/>
                  <a:pt x="596000" y="126010"/>
                  <a:pt x="596000" y="122340"/>
                </a:cubicBezTo>
                <a:lnTo>
                  <a:pt x="596000" y="17943"/>
                </a:lnTo>
                <a:cubicBezTo>
                  <a:pt x="596000" y="9787"/>
                  <a:pt x="589025" y="2855"/>
                  <a:pt x="580822" y="2855"/>
                </a:cubicBezTo>
                <a:close/>
                <a:moveTo>
                  <a:pt x="248983" y="96241"/>
                </a:moveTo>
                <a:lnTo>
                  <a:pt x="197299" y="96241"/>
                </a:lnTo>
                <a:lnTo>
                  <a:pt x="262929" y="9787"/>
                </a:lnTo>
                <a:cubicBezTo>
                  <a:pt x="264980" y="6933"/>
                  <a:pt x="262929" y="2855"/>
                  <a:pt x="259648" y="2855"/>
                </a:cubicBezTo>
                <a:lnTo>
                  <a:pt x="164484" y="2855"/>
                </a:lnTo>
                <a:cubicBezTo>
                  <a:pt x="156281" y="2855"/>
                  <a:pt x="149308" y="9787"/>
                  <a:pt x="149308" y="17943"/>
                </a:cubicBezTo>
                <a:cubicBezTo>
                  <a:pt x="149308" y="26099"/>
                  <a:pt x="156281" y="33032"/>
                  <a:pt x="164484" y="33032"/>
                </a:cubicBezTo>
                <a:lnTo>
                  <a:pt x="207554" y="33032"/>
                </a:lnTo>
                <a:lnTo>
                  <a:pt x="141514" y="119486"/>
                </a:lnTo>
                <a:cubicBezTo>
                  <a:pt x="139463" y="122340"/>
                  <a:pt x="141514" y="126418"/>
                  <a:pt x="145206" y="126418"/>
                </a:cubicBezTo>
                <a:lnTo>
                  <a:pt x="248983" y="126418"/>
                </a:lnTo>
                <a:cubicBezTo>
                  <a:pt x="257186" y="126418"/>
                  <a:pt x="264160" y="119486"/>
                  <a:pt x="264160" y="111330"/>
                </a:cubicBezTo>
                <a:cubicBezTo>
                  <a:pt x="264160" y="103174"/>
                  <a:pt x="257186" y="96241"/>
                  <a:pt x="248983" y="96241"/>
                </a:cubicBezTo>
                <a:close/>
              </a:path>
            </a:pathLst>
          </a:custGeom>
          <a:solidFill>
            <a:schemeClr val="tx1"/>
          </a:solidFill>
          <a:ln w="399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" name="Нижний колонтитул 4">
            <a:extLst>
              <a:ext uri="{FF2B5EF4-FFF2-40B4-BE49-F238E27FC236}">
                <a16:creationId xmlns:a16="http://schemas.microsoft.com/office/drawing/2014/main" id="{19972B16-A979-698E-C847-D77A8D463A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49399" y="6465021"/>
            <a:ext cx="8182800" cy="144500"/>
          </a:xfrm>
        </p:spPr>
        <p:txBody>
          <a:bodyPr anchor="b"/>
          <a:lstStyle>
            <a:lvl1pPr>
              <a:defRPr sz="1000">
                <a:solidFill>
                  <a:srgbClr val="5A6C7D"/>
                </a:solidFill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2007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: скругленные углы 30">
            <a:extLst>
              <a:ext uri="{FF2B5EF4-FFF2-40B4-BE49-F238E27FC236}">
                <a16:creationId xmlns:a16="http://schemas.microsoft.com/office/drawing/2014/main" id="{B5CEA510-779D-B186-51D9-A7BE6A4D8CBF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: скругленные верхние углы 31">
            <a:extLst>
              <a:ext uri="{FF2B5EF4-FFF2-40B4-BE49-F238E27FC236}">
                <a16:creationId xmlns:a16="http://schemas.microsoft.com/office/drawing/2014/main" id="{A1C959ED-4845-914A-5E46-E2BC8420265D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3" name="Таблица 46">
            <a:extLst>
              <a:ext uri="{FF2B5EF4-FFF2-40B4-BE49-F238E27FC236}">
                <a16:creationId xmlns:a16="http://schemas.microsoft.com/office/drawing/2014/main" id="{E10B7DDB-30E3-5914-1530-1B343B89ECF5}"/>
              </a:ext>
            </a:extLst>
          </p:cNvPr>
          <p:cNvGraphicFramePr>
            <a:graphicFrameLocks noGrp="1"/>
          </p:cNvGraphicFramePr>
          <p:nvPr/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4" name="Полилиния: фигура 33">
            <a:extLst>
              <a:ext uri="{FF2B5EF4-FFF2-40B4-BE49-F238E27FC236}">
                <a16:creationId xmlns:a16="http://schemas.microsoft.com/office/drawing/2014/main" id="{E3D1AAE3-78D4-3900-EC14-93255434D8AD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8" name="Полилиния: фигура 57">
            <a:extLst>
              <a:ext uri="{FF2B5EF4-FFF2-40B4-BE49-F238E27FC236}">
                <a16:creationId xmlns:a16="http://schemas.microsoft.com/office/drawing/2014/main" id="{39436597-275E-B3E6-1DAB-CAF537F82E50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F0AA0D0-E6D7-0849-E730-1598B0ABEC6F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3" name="Прямоугольник: скругленные верхние углы 2">
            <a:extLst>
              <a:ext uri="{FF2B5EF4-FFF2-40B4-BE49-F238E27FC236}">
                <a16:creationId xmlns:a16="http://schemas.microsoft.com/office/drawing/2014/main" id="{D1B15945-87AF-F9F3-2DE0-3A1B323E535F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5" name="Полилиния: фигура 4">
            <a:extLst>
              <a:ext uri="{FF2B5EF4-FFF2-40B4-BE49-F238E27FC236}">
                <a16:creationId xmlns:a16="http://schemas.microsoft.com/office/drawing/2014/main" id="{376C75D7-5626-838A-6058-04D945C0E7E6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29FC3BCA-5963-77F9-C93E-8A7C97A54554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5" name="Прямоугольник: скругленные углы 34">
              <a:extLst>
                <a:ext uri="{FF2B5EF4-FFF2-40B4-BE49-F238E27FC236}">
                  <a16:creationId xmlns:a16="http://schemas.microsoft.com/office/drawing/2014/main" id="{451C6EFC-06B4-5E56-299E-794F0C153CA7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6" name="Прямоугольник: скругленные верхние углы 35">
              <a:extLst>
                <a:ext uri="{FF2B5EF4-FFF2-40B4-BE49-F238E27FC236}">
                  <a16:creationId xmlns:a16="http://schemas.microsoft.com/office/drawing/2014/main" id="{4C22702F-98A1-B992-0075-D14E2A0588B5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F16AB7DE-CF4B-86FB-1B5A-ABE23228BA4F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38" name="Прямоугольник: скругленные углы 37">
              <a:extLst>
                <a:ext uri="{FF2B5EF4-FFF2-40B4-BE49-F238E27FC236}">
                  <a16:creationId xmlns:a16="http://schemas.microsoft.com/office/drawing/2014/main" id="{3FDAD732-0125-1143-E119-FEA704054C60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24FD7908-8994-1051-016D-5CC13F02FDB8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углы 39">
              <a:extLst>
                <a:ext uri="{FF2B5EF4-FFF2-40B4-BE49-F238E27FC236}">
                  <a16:creationId xmlns:a16="http://schemas.microsoft.com/office/drawing/2014/main" id="{4E6942A2-E48B-F622-2243-9FC2E291D8E8}"/>
                </a:ext>
              </a:extLst>
            </p:cNvPr>
            <p:cNvSpPr/>
            <p:nvPr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1" name="Прямоугольник: скругленные углы 40">
              <a:extLst>
                <a:ext uri="{FF2B5EF4-FFF2-40B4-BE49-F238E27FC236}">
                  <a16:creationId xmlns:a16="http://schemas.microsoft.com/office/drawing/2014/main" id="{522CD51C-93E9-1670-8BEA-B201505F612B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2B9577B-9B6B-15BD-739F-1225D3CDB149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AE9034D0-25F2-A8C1-F557-12B57AEC9309}"/>
                </a:ext>
              </a:extLst>
            </p:cNvPr>
            <p:cNvSpPr/>
            <p:nvPr/>
          </p:nvSpPr>
          <p:spPr>
            <a:xfrm>
              <a:off x="-1209774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65582AC9-69E4-5258-E336-B355E4884684}"/>
                </a:ext>
              </a:extLst>
            </p:cNvPr>
            <p:cNvSpPr/>
            <p:nvPr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5" name="Прямоугольник: скругленные углы 44">
              <a:extLst>
                <a:ext uri="{FF2B5EF4-FFF2-40B4-BE49-F238E27FC236}">
                  <a16:creationId xmlns:a16="http://schemas.microsoft.com/office/drawing/2014/main" id="{28C905A1-02F3-4C95-9648-AACA6DBF796B}"/>
                </a:ext>
              </a:extLst>
            </p:cNvPr>
            <p:cNvSpPr/>
            <p:nvPr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5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Прямоугольник: скругленные углы 45">
              <a:extLst>
                <a:ext uri="{FF2B5EF4-FFF2-40B4-BE49-F238E27FC236}">
                  <a16:creationId xmlns:a16="http://schemas.microsoft.com/office/drawing/2014/main" id="{61DC806F-D2CD-53D6-C953-37B3574F213B}"/>
                </a:ext>
              </a:extLst>
            </p:cNvPr>
            <p:cNvSpPr/>
            <p:nvPr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1"/>
                </a:solidFill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80C97B5-3952-7910-A413-CE09F4CCF3AB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48" name="Прямоугольник: скругленные углы 47">
              <a:extLst>
                <a:ext uri="{FF2B5EF4-FFF2-40B4-BE49-F238E27FC236}">
                  <a16:creationId xmlns:a16="http://schemas.microsoft.com/office/drawing/2014/main" id="{D3B4BB9F-1DB4-50A0-14E7-2E2ADD11AEB1}"/>
                </a:ext>
              </a:extLst>
            </p:cNvPr>
            <p:cNvSpPr/>
            <p:nvPr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9008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EED9B596-6C25-BBE8-6385-8220EB3E1043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0" name="Прямоугольник: скругленные углы 49">
              <a:extLst>
                <a:ext uri="{FF2B5EF4-FFF2-40B4-BE49-F238E27FC236}">
                  <a16:creationId xmlns:a16="http://schemas.microsoft.com/office/drawing/2014/main" id="{91D74ADE-14FE-3ED2-65A2-CFE136CC1A5E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Прямоугольник: скругленные углы 50">
              <a:extLst>
                <a:ext uri="{FF2B5EF4-FFF2-40B4-BE49-F238E27FC236}">
                  <a16:creationId xmlns:a16="http://schemas.microsoft.com/office/drawing/2014/main" id="{C896DCD4-48B4-626F-B661-C4D24A372953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5D0C49C4-8A7A-7680-8607-00F5BDC44B72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08B87031-6BD7-A056-0BA6-38E2AF1BA40E}"/>
                </a:ext>
              </a:extLst>
            </p:cNvPr>
            <p:cNvSpPr/>
            <p:nvPr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FE7FB711-D05A-9600-3AD0-23D83D2A3A51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66F44A17-9F69-51EE-5BDF-B8A1215914B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56" name="Рисунок 93">
              <a:extLst>
                <a:ext uri="{FF2B5EF4-FFF2-40B4-BE49-F238E27FC236}">
                  <a16:creationId xmlns:a16="http://schemas.microsoft.com/office/drawing/2014/main" id="{F7ACD859-831B-B92D-6598-DCA1F3CF6309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3FF9DED0-F418-3F66-9330-21C737FCBA77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0" name="Прямоугольник: скругленные углы 59">
              <a:extLst>
                <a:ext uri="{FF2B5EF4-FFF2-40B4-BE49-F238E27FC236}">
                  <a16:creationId xmlns:a16="http://schemas.microsoft.com/office/drawing/2014/main" id="{ADF98773-05FC-30DB-27B7-EA76F799AAD2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1" name="Прямоугольник: скругленные углы 60">
              <a:extLst>
                <a:ext uri="{FF2B5EF4-FFF2-40B4-BE49-F238E27FC236}">
                  <a16:creationId xmlns:a16="http://schemas.microsoft.com/office/drawing/2014/main" id="{C5414EA8-DFF8-18DA-88E1-A40C0D6BF477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Прямоугольник: скругленные углы 61">
              <a:extLst>
                <a:ext uri="{FF2B5EF4-FFF2-40B4-BE49-F238E27FC236}">
                  <a16:creationId xmlns:a16="http://schemas.microsoft.com/office/drawing/2014/main" id="{B057ECE9-27EC-B011-57D3-BFEDE3195A83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Прямоугольник: скругленные верхние углы 6">
              <a:extLst>
                <a:ext uri="{FF2B5EF4-FFF2-40B4-BE49-F238E27FC236}">
                  <a16:creationId xmlns:a16="http://schemas.microsoft.com/office/drawing/2014/main" id="{F36F80B4-A8AF-0BA6-FC87-DFE4BC6235F5}"/>
                </a:ext>
              </a:extLst>
            </p:cNvPr>
            <p:cNvSpPr/>
            <p:nvPr userDrawn="1"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460A991C-BA4C-C31C-B948-D5F252D0A83E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34576564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5">
            <a:extLst>
              <a:ext uri="{FF2B5EF4-FFF2-40B4-BE49-F238E27FC236}">
                <a16:creationId xmlns:a16="http://schemas.microsoft.com/office/drawing/2014/main" id="{197A927F-73D8-A013-C06F-BEBBE8391F30}"/>
              </a:ext>
            </a:extLst>
          </p:cNvPr>
          <p:cNvSpPr/>
          <p:nvPr/>
        </p:nvSpPr>
        <p:spPr>
          <a:xfrm>
            <a:off x="639763" y="411162"/>
            <a:ext cx="10910888" cy="5851526"/>
          </a:xfrm>
          <a:custGeom>
            <a:avLst/>
            <a:gdLst>
              <a:gd name="connsiteX0" fmla="*/ 4777550 w 4777549"/>
              <a:gd name="connsiteY0" fmla="*/ 196977 h 2553938"/>
              <a:gd name="connsiteX1" fmla="*/ 4777550 w 4777549"/>
              <a:gd name="connsiteY1" fmla="*/ 1926527 h 2553938"/>
              <a:gd name="connsiteX2" fmla="*/ 4610196 w 4777549"/>
              <a:gd name="connsiteY2" fmla="*/ 2115598 h 2553938"/>
              <a:gd name="connsiteX3" fmla="*/ 2666238 w 4777549"/>
              <a:gd name="connsiteY3" fmla="*/ 2115598 h 2553938"/>
              <a:gd name="connsiteX4" fmla="*/ 2481548 w 4777549"/>
              <a:gd name="connsiteY4" fmla="*/ 2192084 h 2553938"/>
              <a:gd name="connsiteX5" fmla="*/ 2181130 w 4777549"/>
              <a:gd name="connsiteY5" fmla="*/ 2492502 h 2553938"/>
              <a:gd name="connsiteX6" fmla="*/ 2032921 w 4777549"/>
              <a:gd name="connsiteY6" fmla="*/ 2553938 h 2553938"/>
              <a:gd name="connsiteX7" fmla="*/ 196977 w 4777549"/>
              <a:gd name="connsiteY7" fmla="*/ 2553938 h 2553938"/>
              <a:gd name="connsiteX8" fmla="*/ 0 w 4777549"/>
              <a:gd name="connsiteY8" fmla="*/ 2356961 h 2553938"/>
              <a:gd name="connsiteX9" fmla="*/ 0 w 4777549"/>
              <a:gd name="connsiteY9" fmla="*/ 196977 h 2553938"/>
              <a:gd name="connsiteX10" fmla="*/ 196977 w 4777549"/>
              <a:gd name="connsiteY10" fmla="*/ 0 h 2553938"/>
              <a:gd name="connsiteX11" fmla="*/ 4580573 w 4777549"/>
              <a:gd name="connsiteY11" fmla="*/ 0 h 2553938"/>
              <a:gd name="connsiteX12" fmla="*/ 4777550 w 4777549"/>
              <a:gd name="connsiteY12" fmla="*/ 196977 h 2553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777549" h="2553938">
                <a:moveTo>
                  <a:pt x="4777550" y="196977"/>
                </a:moveTo>
                <a:lnTo>
                  <a:pt x="4777550" y="1926527"/>
                </a:lnTo>
                <a:cubicBezTo>
                  <a:pt x="4777550" y="2023967"/>
                  <a:pt x="4704493" y="2104263"/>
                  <a:pt x="4610196" y="2115598"/>
                </a:cubicBezTo>
                <a:lnTo>
                  <a:pt x="2666238" y="2115598"/>
                </a:lnTo>
                <a:cubicBezTo>
                  <a:pt x="2596991" y="2115598"/>
                  <a:pt x="2530602" y="2143125"/>
                  <a:pt x="2481548" y="2192084"/>
                </a:cubicBezTo>
                <a:lnTo>
                  <a:pt x="2181130" y="2492502"/>
                </a:lnTo>
                <a:cubicBezTo>
                  <a:pt x="2141792" y="2531840"/>
                  <a:pt x="2088452" y="2553938"/>
                  <a:pt x="2032921" y="2553938"/>
                </a:cubicBezTo>
                <a:lnTo>
                  <a:pt x="196977" y="2553938"/>
                </a:lnTo>
                <a:cubicBezTo>
                  <a:pt x="88202" y="2553938"/>
                  <a:pt x="0" y="2465737"/>
                  <a:pt x="0" y="2356961"/>
                </a:cubicBezTo>
                <a:lnTo>
                  <a:pt x="0" y="196977"/>
                </a:lnTo>
                <a:cubicBezTo>
                  <a:pt x="0" y="88202"/>
                  <a:pt x="88202" y="0"/>
                  <a:pt x="196977" y="0"/>
                </a:cubicBezTo>
                <a:lnTo>
                  <a:pt x="4580573" y="0"/>
                </a:lnTo>
                <a:cubicBezTo>
                  <a:pt x="4689348" y="0"/>
                  <a:pt x="4777550" y="88202"/>
                  <a:pt x="4777550" y="19697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25000">
                <a:srgbClr val="2E78FF"/>
              </a:gs>
              <a:gs pos="90000">
                <a:srgbClr val="5CC3FF"/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endParaRPr lang="ru-RU" sz="140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4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5194112"/>
            <a:ext cx="3867020" cy="590868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Имя и фамилия спикера, контакты </a:t>
            </a:r>
            <a:br>
              <a:rPr lang="ru-RU"/>
            </a:br>
            <a:r>
              <a:rPr lang="ru-RU"/>
              <a:t>или другая информация</a:t>
            </a:r>
          </a:p>
        </p:txBody>
      </p:sp>
      <p:sp>
        <p:nvSpPr>
          <p:cNvPr id="12" name="Рисунок 7">
            <a:extLst>
              <a:ext uri="{FF2B5EF4-FFF2-40B4-BE49-F238E27FC236}">
                <a16:creationId xmlns:a16="http://schemas.microsoft.com/office/drawing/2014/main" id="{8082470F-B02E-5F25-DB85-57374A194EE6}"/>
              </a:ext>
            </a:extLst>
          </p:cNvPr>
          <p:cNvSpPr/>
          <p:nvPr/>
        </p:nvSpPr>
        <p:spPr>
          <a:xfrm>
            <a:off x="1541812" y="1009909"/>
            <a:ext cx="1165502" cy="252000"/>
          </a:xfrm>
          <a:custGeom>
            <a:avLst/>
            <a:gdLst>
              <a:gd name="connsiteX0" fmla="*/ 126737 w 1165502"/>
              <a:gd name="connsiteY0" fmla="*/ 0 h 252000"/>
              <a:gd name="connsiteX1" fmla="*/ 0 w 1165502"/>
              <a:gd name="connsiteY1" fmla="*/ 126000 h 252000"/>
              <a:gd name="connsiteX2" fmla="*/ 126737 w 1165502"/>
              <a:gd name="connsiteY2" fmla="*/ 252000 h 252000"/>
              <a:gd name="connsiteX3" fmla="*/ 253475 w 1165502"/>
              <a:gd name="connsiteY3" fmla="*/ 126000 h 252000"/>
              <a:gd name="connsiteX4" fmla="*/ 126737 w 1165502"/>
              <a:gd name="connsiteY4" fmla="*/ 0 h 252000"/>
              <a:gd name="connsiteX5" fmla="*/ 126737 w 1165502"/>
              <a:gd name="connsiteY5" fmla="*/ 193785 h 252000"/>
              <a:gd name="connsiteX6" fmla="*/ 58556 w 1165502"/>
              <a:gd name="connsiteY6" fmla="*/ 126000 h 252000"/>
              <a:gd name="connsiteX7" fmla="*/ 126737 w 1165502"/>
              <a:gd name="connsiteY7" fmla="*/ 58215 h 252000"/>
              <a:gd name="connsiteX8" fmla="*/ 194918 w 1165502"/>
              <a:gd name="connsiteY8" fmla="*/ 126000 h 252000"/>
              <a:gd name="connsiteX9" fmla="*/ 126737 w 1165502"/>
              <a:gd name="connsiteY9" fmla="*/ 193785 h 252000"/>
              <a:gd name="connsiteX10" fmla="*/ 711493 w 1165502"/>
              <a:gd name="connsiteY10" fmla="*/ 0 h 252000"/>
              <a:gd name="connsiteX11" fmla="*/ 533420 w 1165502"/>
              <a:gd name="connsiteY11" fmla="*/ 126000 h 252000"/>
              <a:gd name="connsiteX12" fmla="*/ 711493 w 1165502"/>
              <a:gd name="connsiteY12" fmla="*/ 252000 h 252000"/>
              <a:gd name="connsiteX13" fmla="*/ 889569 w 1165502"/>
              <a:gd name="connsiteY13" fmla="*/ 126000 h 252000"/>
              <a:gd name="connsiteX14" fmla="*/ 711493 w 1165502"/>
              <a:gd name="connsiteY14" fmla="*/ 0 h 252000"/>
              <a:gd name="connsiteX15" fmla="*/ 711493 w 1165502"/>
              <a:gd name="connsiteY15" fmla="*/ 193785 h 252000"/>
              <a:gd name="connsiteX16" fmla="*/ 592778 w 1165502"/>
              <a:gd name="connsiteY16" fmla="*/ 126798 h 252000"/>
              <a:gd name="connsiteX17" fmla="*/ 711493 w 1165502"/>
              <a:gd name="connsiteY17" fmla="*/ 59810 h 252000"/>
              <a:gd name="connsiteX18" fmla="*/ 830208 w 1165502"/>
              <a:gd name="connsiteY18" fmla="*/ 126798 h 252000"/>
              <a:gd name="connsiteX19" fmla="*/ 711493 w 1165502"/>
              <a:gd name="connsiteY19" fmla="*/ 193785 h 252000"/>
              <a:gd name="connsiteX20" fmla="*/ 1135821 w 1165502"/>
              <a:gd name="connsiteY20" fmla="*/ 5582 h 252000"/>
              <a:gd name="connsiteX21" fmla="*/ 1106140 w 1165502"/>
              <a:gd name="connsiteY21" fmla="*/ 35089 h 252000"/>
              <a:gd name="connsiteX22" fmla="*/ 1106140 w 1165502"/>
              <a:gd name="connsiteY22" fmla="*/ 133975 h 252000"/>
              <a:gd name="connsiteX23" fmla="*/ 945718 w 1165502"/>
              <a:gd name="connsiteY23" fmla="*/ 7177 h 252000"/>
              <a:gd name="connsiteX24" fmla="*/ 932079 w 1165502"/>
              <a:gd name="connsiteY24" fmla="*/ 13557 h 252000"/>
              <a:gd name="connsiteX25" fmla="*/ 932079 w 1165502"/>
              <a:gd name="connsiteY25" fmla="*/ 216911 h 252000"/>
              <a:gd name="connsiteX26" fmla="*/ 961760 w 1165502"/>
              <a:gd name="connsiteY26" fmla="*/ 246417 h 252000"/>
              <a:gd name="connsiteX27" fmla="*/ 991441 w 1165502"/>
              <a:gd name="connsiteY27" fmla="*/ 216911 h 252000"/>
              <a:gd name="connsiteX28" fmla="*/ 991441 w 1165502"/>
              <a:gd name="connsiteY28" fmla="*/ 118823 h 252000"/>
              <a:gd name="connsiteX29" fmla="*/ 1151863 w 1165502"/>
              <a:gd name="connsiteY29" fmla="*/ 245620 h 252000"/>
              <a:gd name="connsiteX30" fmla="*/ 1165502 w 1165502"/>
              <a:gd name="connsiteY30" fmla="*/ 239240 h 252000"/>
              <a:gd name="connsiteX31" fmla="*/ 1165502 w 1165502"/>
              <a:gd name="connsiteY31" fmla="*/ 35089 h 252000"/>
              <a:gd name="connsiteX32" fmla="*/ 1135821 w 1165502"/>
              <a:gd name="connsiteY32" fmla="*/ 5582 h 252000"/>
              <a:gd name="connsiteX33" fmla="*/ 486896 w 1165502"/>
              <a:gd name="connsiteY33" fmla="*/ 188202 h 252000"/>
              <a:gd name="connsiteX34" fmla="*/ 385827 w 1165502"/>
              <a:gd name="connsiteY34" fmla="*/ 188202 h 252000"/>
              <a:gd name="connsiteX35" fmla="*/ 514168 w 1165502"/>
              <a:gd name="connsiteY35" fmla="*/ 19139 h 252000"/>
              <a:gd name="connsiteX36" fmla="*/ 507752 w 1165502"/>
              <a:gd name="connsiteY36" fmla="*/ 5582 h 252000"/>
              <a:gd name="connsiteX37" fmla="*/ 321656 w 1165502"/>
              <a:gd name="connsiteY37" fmla="*/ 5582 h 252000"/>
              <a:gd name="connsiteX38" fmla="*/ 291977 w 1165502"/>
              <a:gd name="connsiteY38" fmla="*/ 35089 h 252000"/>
              <a:gd name="connsiteX39" fmla="*/ 321656 w 1165502"/>
              <a:gd name="connsiteY39" fmla="*/ 64595 h 252000"/>
              <a:gd name="connsiteX40" fmla="*/ 405881 w 1165502"/>
              <a:gd name="connsiteY40" fmla="*/ 64595 h 252000"/>
              <a:gd name="connsiteX41" fmla="*/ 276737 w 1165502"/>
              <a:gd name="connsiteY41" fmla="*/ 233658 h 252000"/>
              <a:gd name="connsiteX42" fmla="*/ 283956 w 1165502"/>
              <a:gd name="connsiteY42" fmla="*/ 247215 h 252000"/>
              <a:gd name="connsiteX43" fmla="*/ 486896 w 1165502"/>
              <a:gd name="connsiteY43" fmla="*/ 247215 h 252000"/>
              <a:gd name="connsiteX44" fmla="*/ 516575 w 1165502"/>
              <a:gd name="connsiteY44" fmla="*/ 217709 h 252000"/>
              <a:gd name="connsiteX45" fmla="*/ 486896 w 1165502"/>
              <a:gd name="connsiteY45" fmla="*/ 188202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165502" h="252000">
                <a:moveTo>
                  <a:pt x="126737" y="0"/>
                </a:moveTo>
                <a:cubicBezTo>
                  <a:pt x="56952" y="0"/>
                  <a:pt x="0" y="56620"/>
                  <a:pt x="0" y="126000"/>
                </a:cubicBezTo>
                <a:cubicBezTo>
                  <a:pt x="0" y="195380"/>
                  <a:pt x="56952" y="252000"/>
                  <a:pt x="126737" y="252000"/>
                </a:cubicBezTo>
                <a:cubicBezTo>
                  <a:pt x="197325" y="252000"/>
                  <a:pt x="253475" y="195380"/>
                  <a:pt x="253475" y="126000"/>
                </a:cubicBezTo>
                <a:cubicBezTo>
                  <a:pt x="253475" y="56620"/>
                  <a:pt x="197325" y="0"/>
                  <a:pt x="126737" y="0"/>
                </a:cubicBezTo>
                <a:close/>
                <a:moveTo>
                  <a:pt x="126737" y="193785"/>
                </a:moveTo>
                <a:cubicBezTo>
                  <a:pt x="89037" y="193785"/>
                  <a:pt x="58556" y="163481"/>
                  <a:pt x="58556" y="126000"/>
                </a:cubicBezTo>
                <a:cubicBezTo>
                  <a:pt x="58556" y="88519"/>
                  <a:pt x="89037" y="58215"/>
                  <a:pt x="126737" y="58215"/>
                </a:cubicBezTo>
                <a:cubicBezTo>
                  <a:pt x="164437" y="58215"/>
                  <a:pt x="194918" y="88519"/>
                  <a:pt x="194918" y="126000"/>
                </a:cubicBezTo>
                <a:cubicBezTo>
                  <a:pt x="194918" y="163481"/>
                  <a:pt x="164437" y="193785"/>
                  <a:pt x="126737" y="193785"/>
                </a:cubicBezTo>
                <a:close/>
                <a:moveTo>
                  <a:pt x="711493" y="0"/>
                </a:moveTo>
                <a:cubicBezTo>
                  <a:pt x="612831" y="0"/>
                  <a:pt x="533420" y="56620"/>
                  <a:pt x="533420" y="126000"/>
                </a:cubicBezTo>
                <a:cubicBezTo>
                  <a:pt x="533420" y="195380"/>
                  <a:pt x="612831" y="252000"/>
                  <a:pt x="711493" y="252000"/>
                </a:cubicBezTo>
                <a:cubicBezTo>
                  <a:pt x="810158" y="252000"/>
                  <a:pt x="889569" y="195380"/>
                  <a:pt x="889569" y="126000"/>
                </a:cubicBezTo>
                <a:cubicBezTo>
                  <a:pt x="889569" y="56620"/>
                  <a:pt x="809355" y="0"/>
                  <a:pt x="711493" y="0"/>
                </a:cubicBezTo>
                <a:close/>
                <a:moveTo>
                  <a:pt x="711493" y="193785"/>
                </a:moveTo>
                <a:cubicBezTo>
                  <a:pt x="643312" y="193785"/>
                  <a:pt x="592778" y="157898"/>
                  <a:pt x="592778" y="126798"/>
                </a:cubicBezTo>
                <a:cubicBezTo>
                  <a:pt x="592778" y="95696"/>
                  <a:pt x="643312" y="59810"/>
                  <a:pt x="711493" y="59810"/>
                </a:cubicBezTo>
                <a:cubicBezTo>
                  <a:pt x="779675" y="59810"/>
                  <a:pt x="830208" y="95696"/>
                  <a:pt x="830208" y="126798"/>
                </a:cubicBezTo>
                <a:cubicBezTo>
                  <a:pt x="830208" y="157898"/>
                  <a:pt x="778873" y="193785"/>
                  <a:pt x="711493" y="193785"/>
                </a:cubicBezTo>
                <a:close/>
                <a:moveTo>
                  <a:pt x="1135821" y="5582"/>
                </a:moveTo>
                <a:cubicBezTo>
                  <a:pt x="1119780" y="5582"/>
                  <a:pt x="1106140" y="19139"/>
                  <a:pt x="1106140" y="35089"/>
                </a:cubicBezTo>
                <a:lnTo>
                  <a:pt x="1106140" y="133975"/>
                </a:lnTo>
                <a:lnTo>
                  <a:pt x="945718" y="7177"/>
                </a:lnTo>
                <a:cubicBezTo>
                  <a:pt x="940103" y="2392"/>
                  <a:pt x="932079" y="6380"/>
                  <a:pt x="932079" y="13557"/>
                </a:cubicBezTo>
                <a:lnTo>
                  <a:pt x="932079" y="216911"/>
                </a:lnTo>
                <a:cubicBezTo>
                  <a:pt x="932079" y="232861"/>
                  <a:pt x="945718" y="246417"/>
                  <a:pt x="961760" y="246417"/>
                </a:cubicBezTo>
                <a:cubicBezTo>
                  <a:pt x="977801" y="246417"/>
                  <a:pt x="991441" y="232861"/>
                  <a:pt x="991441" y="216911"/>
                </a:cubicBezTo>
                <a:lnTo>
                  <a:pt x="991441" y="118823"/>
                </a:lnTo>
                <a:lnTo>
                  <a:pt x="1151863" y="245620"/>
                </a:lnTo>
                <a:cubicBezTo>
                  <a:pt x="1157477" y="250405"/>
                  <a:pt x="1165502" y="246417"/>
                  <a:pt x="1165502" y="239240"/>
                </a:cubicBezTo>
                <a:lnTo>
                  <a:pt x="1165502" y="35089"/>
                </a:lnTo>
                <a:cubicBezTo>
                  <a:pt x="1165502" y="19139"/>
                  <a:pt x="1151863" y="5582"/>
                  <a:pt x="1135821" y="5582"/>
                </a:cubicBezTo>
                <a:close/>
                <a:moveTo>
                  <a:pt x="486896" y="188202"/>
                </a:moveTo>
                <a:lnTo>
                  <a:pt x="385827" y="188202"/>
                </a:lnTo>
                <a:lnTo>
                  <a:pt x="514168" y="19139"/>
                </a:lnTo>
                <a:cubicBezTo>
                  <a:pt x="518179" y="13557"/>
                  <a:pt x="514168" y="5582"/>
                  <a:pt x="507752" y="5582"/>
                </a:cubicBezTo>
                <a:lnTo>
                  <a:pt x="321656" y="5582"/>
                </a:lnTo>
                <a:cubicBezTo>
                  <a:pt x="305614" y="5582"/>
                  <a:pt x="291977" y="19139"/>
                  <a:pt x="291977" y="35089"/>
                </a:cubicBezTo>
                <a:cubicBezTo>
                  <a:pt x="291977" y="51038"/>
                  <a:pt x="305614" y="64595"/>
                  <a:pt x="321656" y="64595"/>
                </a:cubicBezTo>
                <a:lnTo>
                  <a:pt x="405881" y="64595"/>
                </a:lnTo>
                <a:lnTo>
                  <a:pt x="276737" y="233658"/>
                </a:lnTo>
                <a:cubicBezTo>
                  <a:pt x="272726" y="239240"/>
                  <a:pt x="276737" y="247215"/>
                  <a:pt x="283956" y="247215"/>
                </a:cubicBezTo>
                <a:lnTo>
                  <a:pt x="486896" y="247215"/>
                </a:lnTo>
                <a:cubicBezTo>
                  <a:pt x="502939" y="247215"/>
                  <a:pt x="516575" y="233658"/>
                  <a:pt x="516575" y="217709"/>
                </a:cubicBezTo>
                <a:cubicBezTo>
                  <a:pt x="516575" y="201760"/>
                  <a:pt x="502939" y="188202"/>
                  <a:pt x="486896" y="188202"/>
                </a:cubicBezTo>
                <a:close/>
              </a:path>
            </a:pathLst>
          </a:custGeom>
          <a:solidFill>
            <a:schemeClr val="bg1"/>
          </a:solidFill>
          <a:ln w="785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458CA0F-AA7A-3470-321F-E571C81EB4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55808" y="1931435"/>
            <a:ext cx="6340418" cy="2123348"/>
          </a:xfrm>
        </p:spPr>
        <p:txBody>
          <a:bodyPr vert="horz" anchor="b">
            <a:noAutofit/>
          </a:bodyPr>
          <a:lstStyle>
            <a:lvl1pPr algn="l">
              <a:lnSpc>
                <a:spcPct val="87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ru-RU"/>
              <a:t>Напиши призыв </a:t>
            </a:r>
            <a:br>
              <a:rPr lang="ru-RU"/>
            </a:br>
            <a:r>
              <a:rPr lang="ru-RU"/>
              <a:t>к действию</a:t>
            </a:r>
            <a:r>
              <a:rPr lang="en-US"/>
              <a:t> </a:t>
            </a:r>
            <a:r>
              <a:rPr lang="ru-RU"/>
              <a:t>в 2–3 строки</a:t>
            </a:r>
          </a:p>
        </p:txBody>
      </p:sp>
    </p:spTree>
    <p:extLst>
      <p:ext uri="{BB962C8B-B14F-4D97-AF65-F5344CB8AC3E}">
        <p14:creationId xmlns:p14="http://schemas.microsoft.com/office/powerpoint/2010/main" val="1565205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orient="horz" pos="268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E49329ED-88BB-C258-4171-C073E4805052}"/>
              </a:ext>
            </a:extLst>
          </p:cNvPr>
          <p:cNvSpPr/>
          <p:nvPr/>
        </p:nvSpPr>
        <p:spPr>
          <a:xfrm>
            <a:off x="639763" y="411163"/>
            <a:ext cx="10910887" cy="5851525"/>
          </a:xfrm>
          <a:prstGeom prst="roundRect">
            <a:avLst>
              <a:gd name="adj" fmla="val 10189"/>
            </a:avLst>
          </a:prstGeom>
          <a:gradFill>
            <a:gsLst>
              <a:gs pos="15000">
                <a:schemeClr val="accent1"/>
              </a:gs>
              <a:gs pos="95000">
                <a:schemeClr val="accent3"/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48" name="Слайд think-cell" r:id="rId14" imgW="233" imgH="233" progId="TCLayout.ActiveDocument.1">
                  <p:embed/>
                </p:oleObj>
              </mc:Choice>
              <mc:Fallback>
                <p:oleObj name="Слайд think-cell" r:id="rId14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E1F914-6E31-3D8A-0729-94C84B17961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6718" y="2152745"/>
            <a:ext cx="8206245" cy="2277549"/>
          </a:xfrm>
        </p:spPr>
        <p:txBody>
          <a:bodyPr vert="horz" anchor="b">
            <a:noAutofit/>
          </a:bodyPr>
          <a:lstStyle>
            <a:lvl1pPr algn="l">
              <a:lnSpc>
                <a:spcPct val="90000"/>
              </a:lnSpc>
              <a:defRPr sz="4800" spc="-50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Напиши смысловой заголовок презентации </a:t>
            </a:r>
            <a:br>
              <a:rPr lang="ru-RU"/>
            </a:br>
            <a:r>
              <a:rPr lang="ru-RU"/>
              <a:t>в 2–3 строки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4705255"/>
            <a:ext cx="8174332" cy="81756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Напиши подзаголовок презентации, имя спикера </a:t>
            </a:r>
            <a:br>
              <a:rPr lang="ru-RU"/>
            </a:br>
            <a:r>
              <a:rPr lang="ru-RU"/>
              <a:t>и другую дополнительную информацию</a:t>
            </a: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5AD7914A-6F7A-0AB4-0320-8B0610322AB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49" name="Слайд think-cell" r:id="rId16" imgW="233" imgH="233" progId="TCLayout.ActiveDocument.1">
                  <p:embed/>
                </p:oleObj>
              </mc:Choice>
              <mc:Fallback>
                <p:oleObj name="Слайд think-cell" r:id="rId16" imgW="233" imgH="2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5AD7914A-6F7A-0AB4-0320-8B0610322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15B33EE8-2A0C-A289-E633-0C1A78BC22F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50" name="Слайд think-cell" r:id="rId17" imgW="233" imgH="233" progId="TCLayout.ActiveDocument.1">
                  <p:embed/>
                </p:oleObj>
              </mc:Choice>
              <mc:Fallback>
                <p:oleObj name="Слайд think-cell" r:id="rId17" imgW="233" imgH="233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15B33EE8-2A0C-A289-E633-0C1A78BC22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EDB5745A-EB00-381B-6668-493769E30B62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51" name="Слайд think-cell" r:id="rId18" imgW="233" imgH="233" progId="TCLayout.ActiveDocument.1">
                  <p:embed/>
                </p:oleObj>
              </mc:Choice>
              <mc:Fallback>
                <p:oleObj name="Слайд think-cell" r:id="rId18" imgW="233" imgH="233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EDB5745A-EB00-381B-6668-493769E30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1A29F7CF-5EA7-385D-A6B8-3F74846ECFA0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52" name="Слайд think-cell" r:id="rId19" imgW="233" imgH="233" progId="TCLayout.ActiveDocument.1">
                  <p:embed/>
                </p:oleObj>
              </mc:Choice>
              <mc:Fallback>
                <p:oleObj name="Слайд think-cell" r:id="rId19" imgW="233" imgH="233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1A29F7CF-5EA7-385D-A6B8-3F74846EC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69EB17E6-0D76-E72E-817B-D0C2F75924C4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53" name="Слайд think-cell" r:id="rId20" imgW="233" imgH="233" progId="TCLayout.ActiveDocument.1">
                  <p:embed/>
                </p:oleObj>
              </mc:Choice>
              <mc:Fallback>
                <p:oleObj name="Слайд think-cell" r:id="rId20" imgW="233" imgH="23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id="{69EB17E6-0D76-E72E-817B-D0C2F7592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Объект 9" hidden="1">
            <a:extLst>
              <a:ext uri="{FF2B5EF4-FFF2-40B4-BE49-F238E27FC236}">
                <a16:creationId xmlns:a16="http://schemas.microsoft.com/office/drawing/2014/main" id="{A111C868-F548-CDE4-4C8F-957F32A69173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54" name="Слайд think-cell" r:id="rId21" imgW="233" imgH="233" progId="TCLayout.ActiveDocument.1">
                  <p:embed/>
                </p:oleObj>
              </mc:Choice>
              <mc:Fallback>
                <p:oleObj name="Слайд think-cell" r:id="rId21" imgW="233" imgH="233" progId="TCLayout.ActiveDocument.1">
                  <p:embed/>
                  <p:pic>
                    <p:nvPicPr>
                      <p:cNvPr id="10" name="Объект 9" hidden="1">
                        <a:extLst>
                          <a:ext uri="{FF2B5EF4-FFF2-40B4-BE49-F238E27FC236}">
                            <a16:creationId xmlns:a16="http://schemas.microsoft.com/office/drawing/2014/main" id="{A111C868-F548-CDE4-4C8F-957F32A691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5915CAD-91BC-0EC7-7D14-6FCC6EF3F283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55" name="Слайд think-cell" r:id="rId22" imgW="233" imgH="233" progId="TCLayout.ActiveDocument.1">
                  <p:embed/>
                </p:oleObj>
              </mc:Choice>
              <mc:Fallback>
                <p:oleObj name="Слайд think-cell" r:id="rId22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35915CAD-91BC-0EC7-7D14-6FCC6EF3F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6B49F19B-8C48-33CB-BF6F-83498DB8EA19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56" name="Слайд think-cell" r:id="rId23" imgW="233" imgH="233" progId="TCLayout.ActiveDocument.1">
                  <p:embed/>
                </p:oleObj>
              </mc:Choice>
              <mc:Fallback>
                <p:oleObj name="Слайд think-cell" r:id="rId23" imgW="233" imgH="233" progId="TCLayout.ActiveDocument.1">
                  <p:embed/>
                  <p:pic>
                    <p:nvPicPr>
                      <p:cNvPr id="11" name="Объект 10" hidden="1">
                        <a:extLst>
                          <a:ext uri="{FF2B5EF4-FFF2-40B4-BE49-F238E27FC236}">
                            <a16:creationId xmlns:a16="http://schemas.microsoft.com/office/drawing/2014/main" id="{6B49F19B-8C48-33CB-BF6F-83498DB8E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Объект 12" hidden="1">
            <a:extLst>
              <a:ext uri="{FF2B5EF4-FFF2-40B4-BE49-F238E27FC236}">
                <a16:creationId xmlns:a16="http://schemas.microsoft.com/office/drawing/2014/main" id="{D06FCB91-1283-7736-EEFE-502F0AEF6241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57" name="Слайд think-cell" r:id="rId24" imgW="233" imgH="233" progId="TCLayout.ActiveDocument.1">
                  <p:embed/>
                </p:oleObj>
              </mc:Choice>
              <mc:Fallback>
                <p:oleObj name="Слайд think-cell" r:id="rId24" imgW="233" imgH="233" progId="TCLayout.ActiveDocument.1">
                  <p:embed/>
                  <p:pic>
                    <p:nvPicPr>
                      <p:cNvPr id="13" name="Объект 12" hidden="1">
                        <a:extLst>
                          <a:ext uri="{FF2B5EF4-FFF2-40B4-BE49-F238E27FC236}">
                            <a16:creationId xmlns:a16="http://schemas.microsoft.com/office/drawing/2014/main" id="{D06FCB91-1283-7736-EEFE-502F0AEF62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970EB312-66D1-9625-3377-075970721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58" name="Слайд think-cell" r:id="rId25" imgW="233" imgH="233" progId="TCLayout.ActiveDocument.1">
                  <p:embed/>
                </p:oleObj>
              </mc:Choice>
              <mc:Fallback>
                <p:oleObj name="Слайд think-cell" r:id="rId25" imgW="233" imgH="233" progId="TCLayout.ActiveDocument.1">
                  <p:embed/>
                  <p:pic>
                    <p:nvPicPr>
                      <p:cNvPr id="14" name="Объект 13" hidden="1">
                        <a:extLst>
                          <a:ext uri="{FF2B5EF4-FFF2-40B4-BE49-F238E27FC236}">
                            <a16:creationId xmlns:a16="http://schemas.microsoft.com/office/drawing/2014/main" id="{970EB312-66D1-9625-3377-075970721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Рисунок 7">
            <a:extLst>
              <a:ext uri="{FF2B5EF4-FFF2-40B4-BE49-F238E27FC236}">
                <a16:creationId xmlns:a16="http://schemas.microsoft.com/office/drawing/2014/main" id="{9CBACDB5-46BD-21E4-9D73-0D0F20F6725A}"/>
              </a:ext>
            </a:extLst>
          </p:cNvPr>
          <p:cNvSpPr/>
          <p:nvPr userDrawn="1"/>
        </p:nvSpPr>
        <p:spPr>
          <a:xfrm>
            <a:off x="1541812" y="1009909"/>
            <a:ext cx="1165502" cy="252000"/>
          </a:xfrm>
          <a:custGeom>
            <a:avLst/>
            <a:gdLst>
              <a:gd name="connsiteX0" fmla="*/ 126737 w 1165502"/>
              <a:gd name="connsiteY0" fmla="*/ 0 h 252000"/>
              <a:gd name="connsiteX1" fmla="*/ 0 w 1165502"/>
              <a:gd name="connsiteY1" fmla="*/ 126000 h 252000"/>
              <a:gd name="connsiteX2" fmla="*/ 126737 w 1165502"/>
              <a:gd name="connsiteY2" fmla="*/ 252000 h 252000"/>
              <a:gd name="connsiteX3" fmla="*/ 253475 w 1165502"/>
              <a:gd name="connsiteY3" fmla="*/ 126000 h 252000"/>
              <a:gd name="connsiteX4" fmla="*/ 126737 w 1165502"/>
              <a:gd name="connsiteY4" fmla="*/ 0 h 252000"/>
              <a:gd name="connsiteX5" fmla="*/ 126737 w 1165502"/>
              <a:gd name="connsiteY5" fmla="*/ 193785 h 252000"/>
              <a:gd name="connsiteX6" fmla="*/ 58556 w 1165502"/>
              <a:gd name="connsiteY6" fmla="*/ 126000 h 252000"/>
              <a:gd name="connsiteX7" fmla="*/ 126737 w 1165502"/>
              <a:gd name="connsiteY7" fmla="*/ 58215 h 252000"/>
              <a:gd name="connsiteX8" fmla="*/ 194918 w 1165502"/>
              <a:gd name="connsiteY8" fmla="*/ 126000 h 252000"/>
              <a:gd name="connsiteX9" fmla="*/ 126737 w 1165502"/>
              <a:gd name="connsiteY9" fmla="*/ 193785 h 252000"/>
              <a:gd name="connsiteX10" fmla="*/ 711493 w 1165502"/>
              <a:gd name="connsiteY10" fmla="*/ 0 h 252000"/>
              <a:gd name="connsiteX11" fmla="*/ 533420 w 1165502"/>
              <a:gd name="connsiteY11" fmla="*/ 126000 h 252000"/>
              <a:gd name="connsiteX12" fmla="*/ 711493 w 1165502"/>
              <a:gd name="connsiteY12" fmla="*/ 252000 h 252000"/>
              <a:gd name="connsiteX13" fmla="*/ 889569 w 1165502"/>
              <a:gd name="connsiteY13" fmla="*/ 126000 h 252000"/>
              <a:gd name="connsiteX14" fmla="*/ 711493 w 1165502"/>
              <a:gd name="connsiteY14" fmla="*/ 0 h 252000"/>
              <a:gd name="connsiteX15" fmla="*/ 711493 w 1165502"/>
              <a:gd name="connsiteY15" fmla="*/ 193785 h 252000"/>
              <a:gd name="connsiteX16" fmla="*/ 592778 w 1165502"/>
              <a:gd name="connsiteY16" fmla="*/ 126798 h 252000"/>
              <a:gd name="connsiteX17" fmla="*/ 711493 w 1165502"/>
              <a:gd name="connsiteY17" fmla="*/ 59810 h 252000"/>
              <a:gd name="connsiteX18" fmla="*/ 830208 w 1165502"/>
              <a:gd name="connsiteY18" fmla="*/ 126798 h 252000"/>
              <a:gd name="connsiteX19" fmla="*/ 711493 w 1165502"/>
              <a:gd name="connsiteY19" fmla="*/ 193785 h 252000"/>
              <a:gd name="connsiteX20" fmla="*/ 1135821 w 1165502"/>
              <a:gd name="connsiteY20" fmla="*/ 5582 h 252000"/>
              <a:gd name="connsiteX21" fmla="*/ 1106140 w 1165502"/>
              <a:gd name="connsiteY21" fmla="*/ 35089 h 252000"/>
              <a:gd name="connsiteX22" fmla="*/ 1106140 w 1165502"/>
              <a:gd name="connsiteY22" fmla="*/ 133975 h 252000"/>
              <a:gd name="connsiteX23" fmla="*/ 945718 w 1165502"/>
              <a:gd name="connsiteY23" fmla="*/ 7177 h 252000"/>
              <a:gd name="connsiteX24" fmla="*/ 932079 w 1165502"/>
              <a:gd name="connsiteY24" fmla="*/ 13557 h 252000"/>
              <a:gd name="connsiteX25" fmla="*/ 932079 w 1165502"/>
              <a:gd name="connsiteY25" fmla="*/ 216911 h 252000"/>
              <a:gd name="connsiteX26" fmla="*/ 961760 w 1165502"/>
              <a:gd name="connsiteY26" fmla="*/ 246417 h 252000"/>
              <a:gd name="connsiteX27" fmla="*/ 991441 w 1165502"/>
              <a:gd name="connsiteY27" fmla="*/ 216911 h 252000"/>
              <a:gd name="connsiteX28" fmla="*/ 991441 w 1165502"/>
              <a:gd name="connsiteY28" fmla="*/ 118823 h 252000"/>
              <a:gd name="connsiteX29" fmla="*/ 1151863 w 1165502"/>
              <a:gd name="connsiteY29" fmla="*/ 245620 h 252000"/>
              <a:gd name="connsiteX30" fmla="*/ 1165502 w 1165502"/>
              <a:gd name="connsiteY30" fmla="*/ 239240 h 252000"/>
              <a:gd name="connsiteX31" fmla="*/ 1165502 w 1165502"/>
              <a:gd name="connsiteY31" fmla="*/ 35089 h 252000"/>
              <a:gd name="connsiteX32" fmla="*/ 1135821 w 1165502"/>
              <a:gd name="connsiteY32" fmla="*/ 5582 h 252000"/>
              <a:gd name="connsiteX33" fmla="*/ 486896 w 1165502"/>
              <a:gd name="connsiteY33" fmla="*/ 188202 h 252000"/>
              <a:gd name="connsiteX34" fmla="*/ 385827 w 1165502"/>
              <a:gd name="connsiteY34" fmla="*/ 188202 h 252000"/>
              <a:gd name="connsiteX35" fmla="*/ 514168 w 1165502"/>
              <a:gd name="connsiteY35" fmla="*/ 19139 h 252000"/>
              <a:gd name="connsiteX36" fmla="*/ 507752 w 1165502"/>
              <a:gd name="connsiteY36" fmla="*/ 5582 h 252000"/>
              <a:gd name="connsiteX37" fmla="*/ 321656 w 1165502"/>
              <a:gd name="connsiteY37" fmla="*/ 5582 h 252000"/>
              <a:gd name="connsiteX38" fmla="*/ 291977 w 1165502"/>
              <a:gd name="connsiteY38" fmla="*/ 35089 h 252000"/>
              <a:gd name="connsiteX39" fmla="*/ 321656 w 1165502"/>
              <a:gd name="connsiteY39" fmla="*/ 64595 h 252000"/>
              <a:gd name="connsiteX40" fmla="*/ 405881 w 1165502"/>
              <a:gd name="connsiteY40" fmla="*/ 64595 h 252000"/>
              <a:gd name="connsiteX41" fmla="*/ 276737 w 1165502"/>
              <a:gd name="connsiteY41" fmla="*/ 233658 h 252000"/>
              <a:gd name="connsiteX42" fmla="*/ 283956 w 1165502"/>
              <a:gd name="connsiteY42" fmla="*/ 247215 h 252000"/>
              <a:gd name="connsiteX43" fmla="*/ 486896 w 1165502"/>
              <a:gd name="connsiteY43" fmla="*/ 247215 h 252000"/>
              <a:gd name="connsiteX44" fmla="*/ 516575 w 1165502"/>
              <a:gd name="connsiteY44" fmla="*/ 217709 h 252000"/>
              <a:gd name="connsiteX45" fmla="*/ 486896 w 1165502"/>
              <a:gd name="connsiteY45" fmla="*/ 188202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165502" h="252000">
                <a:moveTo>
                  <a:pt x="126737" y="0"/>
                </a:moveTo>
                <a:cubicBezTo>
                  <a:pt x="56952" y="0"/>
                  <a:pt x="0" y="56620"/>
                  <a:pt x="0" y="126000"/>
                </a:cubicBezTo>
                <a:cubicBezTo>
                  <a:pt x="0" y="195380"/>
                  <a:pt x="56952" y="252000"/>
                  <a:pt x="126737" y="252000"/>
                </a:cubicBezTo>
                <a:cubicBezTo>
                  <a:pt x="197325" y="252000"/>
                  <a:pt x="253475" y="195380"/>
                  <a:pt x="253475" y="126000"/>
                </a:cubicBezTo>
                <a:cubicBezTo>
                  <a:pt x="253475" y="56620"/>
                  <a:pt x="197325" y="0"/>
                  <a:pt x="126737" y="0"/>
                </a:cubicBezTo>
                <a:close/>
                <a:moveTo>
                  <a:pt x="126737" y="193785"/>
                </a:moveTo>
                <a:cubicBezTo>
                  <a:pt x="89037" y="193785"/>
                  <a:pt x="58556" y="163481"/>
                  <a:pt x="58556" y="126000"/>
                </a:cubicBezTo>
                <a:cubicBezTo>
                  <a:pt x="58556" y="88519"/>
                  <a:pt x="89037" y="58215"/>
                  <a:pt x="126737" y="58215"/>
                </a:cubicBezTo>
                <a:cubicBezTo>
                  <a:pt x="164437" y="58215"/>
                  <a:pt x="194918" y="88519"/>
                  <a:pt x="194918" y="126000"/>
                </a:cubicBezTo>
                <a:cubicBezTo>
                  <a:pt x="194918" y="163481"/>
                  <a:pt x="164437" y="193785"/>
                  <a:pt x="126737" y="193785"/>
                </a:cubicBezTo>
                <a:close/>
                <a:moveTo>
                  <a:pt x="711493" y="0"/>
                </a:moveTo>
                <a:cubicBezTo>
                  <a:pt x="612831" y="0"/>
                  <a:pt x="533420" y="56620"/>
                  <a:pt x="533420" y="126000"/>
                </a:cubicBezTo>
                <a:cubicBezTo>
                  <a:pt x="533420" y="195380"/>
                  <a:pt x="612831" y="252000"/>
                  <a:pt x="711493" y="252000"/>
                </a:cubicBezTo>
                <a:cubicBezTo>
                  <a:pt x="810158" y="252000"/>
                  <a:pt x="889569" y="195380"/>
                  <a:pt x="889569" y="126000"/>
                </a:cubicBezTo>
                <a:cubicBezTo>
                  <a:pt x="889569" y="56620"/>
                  <a:pt x="809355" y="0"/>
                  <a:pt x="711493" y="0"/>
                </a:cubicBezTo>
                <a:close/>
                <a:moveTo>
                  <a:pt x="711493" y="193785"/>
                </a:moveTo>
                <a:cubicBezTo>
                  <a:pt x="643312" y="193785"/>
                  <a:pt x="592778" y="157898"/>
                  <a:pt x="592778" y="126798"/>
                </a:cubicBezTo>
                <a:cubicBezTo>
                  <a:pt x="592778" y="95696"/>
                  <a:pt x="643312" y="59810"/>
                  <a:pt x="711493" y="59810"/>
                </a:cubicBezTo>
                <a:cubicBezTo>
                  <a:pt x="779675" y="59810"/>
                  <a:pt x="830208" y="95696"/>
                  <a:pt x="830208" y="126798"/>
                </a:cubicBezTo>
                <a:cubicBezTo>
                  <a:pt x="830208" y="157898"/>
                  <a:pt x="778873" y="193785"/>
                  <a:pt x="711493" y="193785"/>
                </a:cubicBezTo>
                <a:close/>
                <a:moveTo>
                  <a:pt x="1135821" y="5582"/>
                </a:moveTo>
                <a:cubicBezTo>
                  <a:pt x="1119780" y="5582"/>
                  <a:pt x="1106140" y="19139"/>
                  <a:pt x="1106140" y="35089"/>
                </a:cubicBezTo>
                <a:lnTo>
                  <a:pt x="1106140" y="133975"/>
                </a:lnTo>
                <a:lnTo>
                  <a:pt x="945718" y="7177"/>
                </a:lnTo>
                <a:cubicBezTo>
                  <a:pt x="940103" y="2392"/>
                  <a:pt x="932079" y="6380"/>
                  <a:pt x="932079" y="13557"/>
                </a:cubicBezTo>
                <a:lnTo>
                  <a:pt x="932079" y="216911"/>
                </a:lnTo>
                <a:cubicBezTo>
                  <a:pt x="932079" y="232861"/>
                  <a:pt x="945718" y="246417"/>
                  <a:pt x="961760" y="246417"/>
                </a:cubicBezTo>
                <a:cubicBezTo>
                  <a:pt x="977801" y="246417"/>
                  <a:pt x="991441" y="232861"/>
                  <a:pt x="991441" y="216911"/>
                </a:cubicBezTo>
                <a:lnTo>
                  <a:pt x="991441" y="118823"/>
                </a:lnTo>
                <a:lnTo>
                  <a:pt x="1151863" y="245620"/>
                </a:lnTo>
                <a:cubicBezTo>
                  <a:pt x="1157477" y="250405"/>
                  <a:pt x="1165502" y="246417"/>
                  <a:pt x="1165502" y="239240"/>
                </a:cubicBezTo>
                <a:lnTo>
                  <a:pt x="1165502" y="35089"/>
                </a:lnTo>
                <a:cubicBezTo>
                  <a:pt x="1165502" y="19139"/>
                  <a:pt x="1151863" y="5582"/>
                  <a:pt x="1135821" y="5582"/>
                </a:cubicBezTo>
                <a:close/>
                <a:moveTo>
                  <a:pt x="486896" y="188202"/>
                </a:moveTo>
                <a:lnTo>
                  <a:pt x="385827" y="188202"/>
                </a:lnTo>
                <a:lnTo>
                  <a:pt x="514168" y="19139"/>
                </a:lnTo>
                <a:cubicBezTo>
                  <a:pt x="518179" y="13557"/>
                  <a:pt x="514168" y="5582"/>
                  <a:pt x="507752" y="5582"/>
                </a:cubicBezTo>
                <a:lnTo>
                  <a:pt x="321656" y="5582"/>
                </a:lnTo>
                <a:cubicBezTo>
                  <a:pt x="305614" y="5582"/>
                  <a:pt x="291977" y="19139"/>
                  <a:pt x="291977" y="35089"/>
                </a:cubicBezTo>
                <a:cubicBezTo>
                  <a:pt x="291977" y="51038"/>
                  <a:pt x="305614" y="64595"/>
                  <a:pt x="321656" y="64595"/>
                </a:cubicBezTo>
                <a:lnTo>
                  <a:pt x="405881" y="64595"/>
                </a:lnTo>
                <a:lnTo>
                  <a:pt x="276737" y="233658"/>
                </a:lnTo>
                <a:cubicBezTo>
                  <a:pt x="272726" y="239240"/>
                  <a:pt x="276737" y="247215"/>
                  <a:pt x="283956" y="247215"/>
                </a:cubicBezTo>
                <a:lnTo>
                  <a:pt x="486896" y="247215"/>
                </a:lnTo>
                <a:cubicBezTo>
                  <a:pt x="502939" y="247215"/>
                  <a:pt x="516575" y="233658"/>
                  <a:pt x="516575" y="217709"/>
                </a:cubicBezTo>
                <a:cubicBezTo>
                  <a:pt x="516575" y="201760"/>
                  <a:pt x="502939" y="188202"/>
                  <a:pt x="486896" y="188202"/>
                </a:cubicBezTo>
                <a:close/>
              </a:path>
            </a:pathLst>
          </a:custGeom>
          <a:solidFill>
            <a:schemeClr val="bg1"/>
          </a:solidFill>
          <a:ln w="785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8791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004713AF-D063-DFE4-ED3B-97811EE849CE}"/>
              </a:ext>
            </a:extLst>
          </p:cNvPr>
          <p:cNvSpPr/>
          <p:nvPr/>
        </p:nvSpPr>
        <p:spPr>
          <a:xfrm>
            <a:off x="639762" y="411162"/>
            <a:ext cx="1496947" cy="5851525"/>
          </a:xfrm>
          <a:prstGeom prst="roundRect">
            <a:avLst>
              <a:gd name="adj" fmla="val 27375"/>
            </a:avLst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endParaRPr lang="ru-RU" sz="1400" err="1"/>
          </a:p>
        </p:txBody>
      </p: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DE8E5C46-0B07-7F57-D5C9-A6D773A2F183}"/>
              </a:ext>
            </a:extLst>
          </p:cNvPr>
          <p:cNvSpPr/>
          <p:nvPr/>
        </p:nvSpPr>
        <p:spPr>
          <a:xfrm>
            <a:off x="2457451" y="411163"/>
            <a:ext cx="8185150" cy="5851526"/>
          </a:xfrm>
          <a:prstGeom prst="roundRect">
            <a:avLst>
              <a:gd name="adj" fmla="val 6773"/>
            </a:avLst>
          </a:prstGeom>
          <a:gradFill>
            <a:gsLst>
              <a:gs pos="15000">
                <a:schemeClr val="accent1"/>
              </a:gs>
              <a:gs pos="85000">
                <a:schemeClr val="accent3"/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2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екст 5">
            <a:extLst>
              <a:ext uri="{FF2B5EF4-FFF2-40B4-BE49-F238E27FC236}">
                <a16:creationId xmlns:a16="http://schemas.microsoft.com/office/drawing/2014/main" id="{12F0BAE5-9B94-D517-7A49-4E7BBC7BB9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4284" y="1739217"/>
            <a:ext cx="1087903" cy="743655"/>
          </a:xfrm>
        </p:spPr>
        <p:txBody>
          <a:bodyPr anchor="t"/>
          <a:lstStyle>
            <a:lvl1pPr algn="ctr">
              <a:defRPr sz="6000" b="1" spc="-2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  <a:endParaRPr lang="ru-RU"/>
          </a:p>
        </p:txBody>
      </p:sp>
      <p:sp>
        <p:nvSpPr>
          <p:cNvPr id="8" name="Текст 8">
            <a:extLst>
              <a:ext uri="{FF2B5EF4-FFF2-40B4-BE49-F238E27FC236}">
                <a16:creationId xmlns:a16="http://schemas.microsoft.com/office/drawing/2014/main" id="{9DD477A7-0F1C-B92E-5302-1F26D4F1EE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79573" y="1767569"/>
            <a:ext cx="6353390" cy="2341562"/>
          </a:xfrm>
        </p:spPr>
        <p:txBody>
          <a:bodyPr/>
          <a:lstStyle>
            <a:lvl1pPr>
              <a:spcAft>
                <a:spcPts val="0"/>
              </a:spcAft>
              <a:defRPr sz="4000" b="1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Напиши смысловой заголовок раздела </a:t>
            </a:r>
            <a:br>
              <a:rPr lang="ru-RU"/>
            </a:br>
            <a:r>
              <a:rPr lang="ru-RU"/>
              <a:t>в 2–3 строки</a:t>
            </a:r>
          </a:p>
        </p:txBody>
      </p:sp>
    </p:spTree>
    <p:extLst>
      <p:ext uri="{BB962C8B-B14F-4D97-AF65-F5344CB8AC3E}">
        <p14:creationId xmlns:p14="http://schemas.microsoft.com/office/powerpoint/2010/main" val="1688195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6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4692F5B7-B90A-C91A-2047-FDFD8FC7FE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49399" y="6465021"/>
            <a:ext cx="8182800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E7388FD-D149-4D25-0D53-8FD572183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7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</a:t>
            </a:r>
            <a:br>
              <a:rPr lang="ru-RU"/>
            </a:br>
            <a:r>
              <a:rPr lang="ru-RU"/>
              <a:t>слайда в 1–2 строки</a:t>
            </a:r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/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F67C59A3-D429-7B31-A5B0-0D1EFC446FA3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26561D24-BBBB-253A-7A51-A96C57F40E5B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A2B8DFB7-79B0-0439-C360-6941BF32E4D7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9298A01-26D5-77F0-1B44-28C8BBA32B5A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21EA26B0-23BA-7A00-892D-A1F326878E52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A5D3FC7E-9D3D-EB60-5F4A-AB0976EFEC60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E6DA982A-4819-86A4-B3E3-3820BE19C0E0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5" name="Прямоугольник: скругленные углы 44">
              <a:extLst>
                <a:ext uri="{FF2B5EF4-FFF2-40B4-BE49-F238E27FC236}">
                  <a16:creationId xmlns:a16="http://schemas.microsoft.com/office/drawing/2014/main" id="{682E6276-38E4-B43E-1997-1EB72EA2A914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068336B-339F-1776-3C0F-78C717AA59C8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8" name="Прямоугольник: скругленные углы 47">
              <a:extLst>
                <a:ext uri="{FF2B5EF4-FFF2-40B4-BE49-F238E27FC236}">
                  <a16:creationId xmlns:a16="http://schemas.microsoft.com/office/drawing/2014/main" id="{FE2D34FD-CFD5-F181-5F8D-99FE8F6B9336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48ABCE10-7A7F-1324-4D1D-7AD10D1042B1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FA92F67-A433-8731-5914-B14989A94311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52" name="Прямоугольник: скругленные углы 51">
              <a:extLst>
                <a:ext uri="{FF2B5EF4-FFF2-40B4-BE49-F238E27FC236}">
                  <a16:creationId xmlns:a16="http://schemas.microsoft.com/office/drawing/2014/main" id="{4C7A1397-7A11-591D-AA68-55A9039699E9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9008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504D71D0-6847-ADE8-467F-77206D5DE761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AB17545C-2653-11B9-6AAD-F2414CA88813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1D454EF4-1099-5940-A5D4-5F82D3172AE1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AB6D7EE-DAF5-E7EF-6D1E-0891469BD32B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64568EE7-F81D-84C3-5AE6-8B77C2134C94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0BC0B63B-AFDA-54FE-3829-EC8AA6CFBAEB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2FE7B29-A123-EF1E-09DB-12AADC874FA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60" name="Рисунок 93">
              <a:extLst>
                <a:ext uri="{FF2B5EF4-FFF2-40B4-BE49-F238E27FC236}">
                  <a16:creationId xmlns:a16="http://schemas.microsoft.com/office/drawing/2014/main" id="{AA53B632-DD94-4453-746B-3AC3CCA27D0B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DE6F264-2180-A77B-E487-478DC7F970C2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2B9BFCAF-86CA-1244-E85A-F30E4AC766F2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64">
              <a:extLst>
                <a:ext uri="{FF2B5EF4-FFF2-40B4-BE49-F238E27FC236}">
                  <a16:creationId xmlns:a16="http://schemas.microsoft.com/office/drawing/2014/main" id="{860A63BB-781E-AEA8-4E5D-D35214A49880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65">
              <a:extLst>
                <a:ext uri="{FF2B5EF4-FFF2-40B4-BE49-F238E27FC236}">
                  <a16:creationId xmlns:a16="http://schemas.microsoft.com/office/drawing/2014/main" id="{09CABE96-EC03-3157-B363-C0896B3891CC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рямоугольник: скругленные углы 13">
              <a:extLst>
                <a:ext uri="{FF2B5EF4-FFF2-40B4-BE49-F238E27FC236}">
                  <a16:creationId xmlns:a16="http://schemas.microsoft.com/office/drawing/2014/main" id="{10235599-9C22-810F-AFFE-43B3719F8049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BCCB48D8-60A8-9E17-D2F8-C11A8EA8C284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5" name="Рисунок 1">
            <a:extLst>
              <a:ext uri="{FF2B5EF4-FFF2-40B4-BE49-F238E27FC236}">
                <a16:creationId xmlns:a16="http://schemas.microsoft.com/office/drawing/2014/main" id="{1C743A56-B719-FC87-1BB6-6AF569C82D9B}"/>
              </a:ext>
            </a:extLst>
          </p:cNvPr>
          <p:cNvSpPr/>
          <p:nvPr userDrawn="1"/>
        </p:nvSpPr>
        <p:spPr>
          <a:xfrm>
            <a:off x="640541" y="6472839"/>
            <a:ext cx="596000" cy="128865"/>
          </a:xfrm>
          <a:custGeom>
            <a:avLst/>
            <a:gdLst>
              <a:gd name="connsiteX0" fmla="*/ 64809 w 596000"/>
              <a:gd name="connsiteY0" fmla="*/ 0 h 128865"/>
              <a:gd name="connsiteX1" fmla="*/ 0 w 596000"/>
              <a:gd name="connsiteY1" fmla="*/ 64433 h 128865"/>
              <a:gd name="connsiteX2" fmla="*/ 64809 w 596000"/>
              <a:gd name="connsiteY2" fmla="*/ 128865 h 128865"/>
              <a:gd name="connsiteX3" fmla="*/ 129619 w 596000"/>
              <a:gd name="connsiteY3" fmla="*/ 64433 h 128865"/>
              <a:gd name="connsiteX4" fmla="*/ 64809 w 596000"/>
              <a:gd name="connsiteY4" fmla="*/ 0 h 128865"/>
              <a:gd name="connsiteX5" fmla="*/ 64809 w 596000"/>
              <a:gd name="connsiteY5" fmla="*/ 99096 h 128865"/>
              <a:gd name="connsiteX6" fmla="*/ 29944 w 596000"/>
              <a:gd name="connsiteY6" fmla="*/ 64433 h 128865"/>
              <a:gd name="connsiteX7" fmla="*/ 64809 w 596000"/>
              <a:gd name="connsiteY7" fmla="*/ 29769 h 128865"/>
              <a:gd name="connsiteX8" fmla="*/ 99675 w 596000"/>
              <a:gd name="connsiteY8" fmla="*/ 64433 h 128865"/>
              <a:gd name="connsiteX9" fmla="*/ 64809 w 596000"/>
              <a:gd name="connsiteY9" fmla="*/ 99096 h 128865"/>
              <a:gd name="connsiteX10" fmla="*/ 363835 w 596000"/>
              <a:gd name="connsiteY10" fmla="*/ 0 h 128865"/>
              <a:gd name="connsiteX11" fmla="*/ 272774 w 596000"/>
              <a:gd name="connsiteY11" fmla="*/ 64433 h 128865"/>
              <a:gd name="connsiteX12" fmla="*/ 363835 w 596000"/>
              <a:gd name="connsiteY12" fmla="*/ 128865 h 128865"/>
              <a:gd name="connsiteX13" fmla="*/ 454897 w 596000"/>
              <a:gd name="connsiteY13" fmla="*/ 64433 h 128865"/>
              <a:gd name="connsiteX14" fmla="*/ 363835 w 596000"/>
              <a:gd name="connsiteY14" fmla="*/ 0 h 128865"/>
              <a:gd name="connsiteX15" fmla="*/ 363835 w 596000"/>
              <a:gd name="connsiteY15" fmla="*/ 99096 h 128865"/>
              <a:gd name="connsiteX16" fmla="*/ 303127 w 596000"/>
              <a:gd name="connsiteY16" fmla="*/ 64840 h 128865"/>
              <a:gd name="connsiteX17" fmla="*/ 363835 w 596000"/>
              <a:gd name="connsiteY17" fmla="*/ 30585 h 128865"/>
              <a:gd name="connsiteX18" fmla="*/ 424541 w 596000"/>
              <a:gd name="connsiteY18" fmla="*/ 64840 h 128865"/>
              <a:gd name="connsiteX19" fmla="*/ 363835 w 596000"/>
              <a:gd name="connsiteY19" fmla="*/ 99096 h 128865"/>
              <a:gd name="connsiteX20" fmla="*/ 580822 w 596000"/>
              <a:gd name="connsiteY20" fmla="*/ 2855 h 128865"/>
              <a:gd name="connsiteX21" fmla="*/ 565644 w 596000"/>
              <a:gd name="connsiteY21" fmla="*/ 17943 h 128865"/>
              <a:gd name="connsiteX22" fmla="*/ 565644 w 596000"/>
              <a:gd name="connsiteY22" fmla="*/ 68511 h 128865"/>
              <a:gd name="connsiteX23" fmla="*/ 483610 w 596000"/>
              <a:gd name="connsiteY23" fmla="*/ 3670 h 128865"/>
              <a:gd name="connsiteX24" fmla="*/ 476635 w 596000"/>
              <a:gd name="connsiteY24" fmla="*/ 6933 h 128865"/>
              <a:gd name="connsiteX25" fmla="*/ 476635 w 596000"/>
              <a:gd name="connsiteY25" fmla="*/ 110922 h 128865"/>
              <a:gd name="connsiteX26" fmla="*/ 491813 w 596000"/>
              <a:gd name="connsiteY26" fmla="*/ 126010 h 128865"/>
              <a:gd name="connsiteX27" fmla="*/ 506991 w 596000"/>
              <a:gd name="connsiteY27" fmla="*/ 110922 h 128865"/>
              <a:gd name="connsiteX28" fmla="*/ 506991 w 596000"/>
              <a:gd name="connsiteY28" fmla="*/ 60762 h 128865"/>
              <a:gd name="connsiteX29" fmla="*/ 589025 w 596000"/>
              <a:gd name="connsiteY29" fmla="*/ 125603 h 128865"/>
              <a:gd name="connsiteX30" fmla="*/ 596000 w 596000"/>
              <a:gd name="connsiteY30" fmla="*/ 122340 h 128865"/>
              <a:gd name="connsiteX31" fmla="*/ 596000 w 596000"/>
              <a:gd name="connsiteY31" fmla="*/ 17943 h 128865"/>
              <a:gd name="connsiteX32" fmla="*/ 580822 w 596000"/>
              <a:gd name="connsiteY32" fmla="*/ 2855 h 128865"/>
              <a:gd name="connsiteX33" fmla="*/ 248983 w 596000"/>
              <a:gd name="connsiteY33" fmla="*/ 96241 h 128865"/>
              <a:gd name="connsiteX34" fmla="*/ 197299 w 596000"/>
              <a:gd name="connsiteY34" fmla="*/ 96241 h 128865"/>
              <a:gd name="connsiteX35" fmla="*/ 262929 w 596000"/>
              <a:gd name="connsiteY35" fmla="*/ 9787 h 128865"/>
              <a:gd name="connsiteX36" fmla="*/ 259648 w 596000"/>
              <a:gd name="connsiteY36" fmla="*/ 2855 h 128865"/>
              <a:gd name="connsiteX37" fmla="*/ 164484 w 596000"/>
              <a:gd name="connsiteY37" fmla="*/ 2855 h 128865"/>
              <a:gd name="connsiteX38" fmla="*/ 149308 w 596000"/>
              <a:gd name="connsiteY38" fmla="*/ 17943 h 128865"/>
              <a:gd name="connsiteX39" fmla="*/ 164484 w 596000"/>
              <a:gd name="connsiteY39" fmla="*/ 33032 h 128865"/>
              <a:gd name="connsiteX40" fmla="*/ 207554 w 596000"/>
              <a:gd name="connsiteY40" fmla="*/ 33032 h 128865"/>
              <a:gd name="connsiteX41" fmla="*/ 141514 w 596000"/>
              <a:gd name="connsiteY41" fmla="*/ 119486 h 128865"/>
              <a:gd name="connsiteX42" fmla="*/ 145206 w 596000"/>
              <a:gd name="connsiteY42" fmla="*/ 126418 h 128865"/>
              <a:gd name="connsiteX43" fmla="*/ 248983 w 596000"/>
              <a:gd name="connsiteY43" fmla="*/ 126418 h 128865"/>
              <a:gd name="connsiteX44" fmla="*/ 264160 w 596000"/>
              <a:gd name="connsiteY44" fmla="*/ 111330 h 128865"/>
              <a:gd name="connsiteX45" fmla="*/ 248983 w 596000"/>
              <a:gd name="connsiteY45" fmla="*/ 96241 h 128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96000" h="128865">
                <a:moveTo>
                  <a:pt x="64809" y="0"/>
                </a:moveTo>
                <a:cubicBezTo>
                  <a:pt x="29123" y="0"/>
                  <a:pt x="0" y="28954"/>
                  <a:pt x="0" y="64433"/>
                </a:cubicBezTo>
                <a:cubicBezTo>
                  <a:pt x="0" y="99911"/>
                  <a:pt x="29123" y="128865"/>
                  <a:pt x="64809" y="128865"/>
                </a:cubicBezTo>
                <a:cubicBezTo>
                  <a:pt x="100906" y="128865"/>
                  <a:pt x="129619" y="99911"/>
                  <a:pt x="129619" y="64433"/>
                </a:cubicBezTo>
                <a:cubicBezTo>
                  <a:pt x="129619" y="28954"/>
                  <a:pt x="100906" y="0"/>
                  <a:pt x="64809" y="0"/>
                </a:cubicBezTo>
                <a:close/>
                <a:moveTo>
                  <a:pt x="64809" y="99096"/>
                </a:moveTo>
                <a:cubicBezTo>
                  <a:pt x="45531" y="99096"/>
                  <a:pt x="29944" y="83599"/>
                  <a:pt x="29944" y="64433"/>
                </a:cubicBezTo>
                <a:cubicBezTo>
                  <a:pt x="29944" y="45266"/>
                  <a:pt x="45531" y="29769"/>
                  <a:pt x="64809" y="29769"/>
                </a:cubicBezTo>
                <a:cubicBezTo>
                  <a:pt x="84088" y="29769"/>
                  <a:pt x="99675" y="45266"/>
                  <a:pt x="99675" y="64433"/>
                </a:cubicBezTo>
                <a:cubicBezTo>
                  <a:pt x="99675" y="83599"/>
                  <a:pt x="84088" y="99096"/>
                  <a:pt x="64809" y="99096"/>
                </a:cubicBezTo>
                <a:close/>
                <a:moveTo>
                  <a:pt x="363835" y="0"/>
                </a:moveTo>
                <a:cubicBezTo>
                  <a:pt x="313382" y="0"/>
                  <a:pt x="272774" y="28954"/>
                  <a:pt x="272774" y="64433"/>
                </a:cubicBezTo>
                <a:cubicBezTo>
                  <a:pt x="272774" y="99911"/>
                  <a:pt x="313382" y="128865"/>
                  <a:pt x="363835" y="128865"/>
                </a:cubicBezTo>
                <a:cubicBezTo>
                  <a:pt x="414288" y="128865"/>
                  <a:pt x="454897" y="99911"/>
                  <a:pt x="454897" y="64433"/>
                </a:cubicBezTo>
                <a:cubicBezTo>
                  <a:pt x="454897" y="28954"/>
                  <a:pt x="413878" y="0"/>
                  <a:pt x="363835" y="0"/>
                </a:cubicBezTo>
                <a:close/>
                <a:moveTo>
                  <a:pt x="363835" y="99096"/>
                </a:moveTo>
                <a:cubicBezTo>
                  <a:pt x="328969" y="99096"/>
                  <a:pt x="303127" y="80744"/>
                  <a:pt x="303127" y="64840"/>
                </a:cubicBezTo>
                <a:cubicBezTo>
                  <a:pt x="303127" y="48936"/>
                  <a:pt x="328969" y="30585"/>
                  <a:pt x="363835" y="30585"/>
                </a:cubicBezTo>
                <a:cubicBezTo>
                  <a:pt x="398701" y="30585"/>
                  <a:pt x="424541" y="48936"/>
                  <a:pt x="424541" y="64840"/>
                </a:cubicBezTo>
                <a:cubicBezTo>
                  <a:pt x="424541" y="80744"/>
                  <a:pt x="398290" y="99096"/>
                  <a:pt x="363835" y="99096"/>
                </a:cubicBezTo>
                <a:close/>
                <a:moveTo>
                  <a:pt x="580822" y="2855"/>
                </a:moveTo>
                <a:cubicBezTo>
                  <a:pt x="572619" y="2855"/>
                  <a:pt x="565644" y="9787"/>
                  <a:pt x="565644" y="17943"/>
                </a:cubicBezTo>
                <a:lnTo>
                  <a:pt x="565644" y="68511"/>
                </a:lnTo>
                <a:lnTo>
                  <a:pt x="483610" y="3670"/>
                </a:lnTo>
                <a:cubicBezTo>
                  <a:pt x="480738" y="1223"/>
                  <a:pt x="476635" y="3262"/>
                  <a:pt x="476635" y="6933"/>
                </a:cubicBezTo>
                <a:lnTo>
                  <a:pt x="476635" y="110922"/>
                </a:lnTo>
                <a:cubicBezTo>
                  <a:pt x="476635" y="119078"/>
                  <a:pt x="483610" y="126010"/>
                  <a:pt x="491813" y="126010"/>
                </a:cubicBezTo>
                <a:cubicBezTo>
                  <a:pt x="500016" y="126010"/>
                  <a:pt x="506991" y="119078"/>
                  <a:pt x="506991" y="110922"/>
                </a:cubicBezTo>
                <a:lnTo>
                  <a:pt x="506991" y="60762"/>
                </a:lnTo>
                <a:lnTo>
                  <a:pt x="589025" y="125603"/>
                </a:lnTo>
                <a:cubicBezTo>
                  <a:pt x="591897" y="128050"/>
                  <a:pt x="596000" y="126010"/>
                  <a:pt x="596000" y="122340"/>
                </a:cubicBezTo>
                <a:lnTo>
                  <a:pt x="596000" y="17943"/>
                </a:lnTo>
                <a:cubicBezTo>
                  <a:pt x="596000" y="9787"/>
                  <a:pt x="589025" y="2855"/>
                  <a:pt x="580822" y="2855"/>
                </a:cubicBezTo>
                <a:close/>
                <a:moveTo>
                  <a:pt x="248983" y="96241"/>
                </a:moveTo>
                <a:lnTo>
                  <a:pt x="197299" y="96241"/>
                </a:lnTo>
                <a:lnTo>
                  <a:pt x="262929" y="9787"/>
                </a:lnTo>
                <a:cubicBezTo>
                  <a:pt x="264980" y="6933"/>
                  <a:pt x="262929" y="2855"/>
                  <a:pt x="259648" y="2855"/>
                </a:cubicBezTo>
                <a:lnTo>
                  <a:pt x="164484" y="2855"/>
                </a:lnTo>
                <a:cubicBezTo>
                  <a:pt x="156281" y="2855"/>
                  <a:pt x="149308" y="9787"/>
                  <a:pt x="149308" y="17943"/>
                </a:cubicBezTo>
                <a:cubicBezTo>
                  <a:pt x="149308" y="26099"/>
                  <a:pt x="156281" y="33032"/>
                  <a:pt x="164484" y="33032"/>
                </a:cubicBezTo>
                <a:lnTo>
                  <a:pt x="207554" y="33032"/>
                </a:lnTo>
                <a:lnTo>
                  <a:pt x="141514" y="119486"/>
                </a:lnTo>
                <a:cubicBezTo>
                  <a:pt x="139463" y="122340"/>
                  <a:pt x="141514" y="126418"/>
                  <a:pt x="145206" y="126418"/>
                </a:cubicBezTo>
                <a:lnTo>
                  <a:pt x="248983" y="126418"/>
                </a:lnTo>
                <a:cubicBezTo>
                  <a:pt x="257186" y="126418"/>
                  <a:pt x="264160" y="119486"/>
                  <a:pt x="264160" y="111330"/>
                </a:cubicBezTo>
                <a:cubicBezTo>
                  <a:pt x="264160" y="103174"/>
                  <a:pt x="257186" y="96241"/>
                  <a:pt x="248983" y="96241"/>
                </a:cubicBezTo>
                <a:close/>
              </a:path>
            </a:pathLst>
          </a:custGeom>
          <a:solidFill>
            <a:schemeClr val="bg1"/>
          </a:solidFill>
          <a:ln w="399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2051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_ligh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598D0B46-B0A6-A42A-ED59-1B31201D1AB2}"/>
              </a:ext>
            </a:extLst>
          </p:cNvPr>
          <p:cNvGrpSpPr/>
          <p:nvPr userDrawn="1"/>
        </p:nvGrpSpPr>
        <p:grpSpPr>
          <a:xfrm>
            <a:off x="-2138458" y="0"/>
            <a:ext cx="1928241" cy="2880934"/>
            <a:chOff x="-2138458" y="0"/>
            <a:chExt cx="1928241" cy="2880934"/>
          </a:xfrm>
        </p:grpSpPr>
        <p:sp>
          <p:nvSpPr>
            <p:cNvPr id="27" name="Прямоугольник: скругленные углы 26">
              <a:extLst>
                <a:ext uri="{FF2B5EF4-FFF2-40B4-BE49-F238E27FC236}">
                  <a16:creationId xmlns:a16="http://schemas.microsoft.com/office/drawing/2014/main" id="{A1753B2C-76E2-A5A6-A432-B4822F053CE8}"/>
                </a:ext>
              </a:extLst>
            </p:cNvPr>
            <p:cNvSpPr/>
            <p:nvPr/>
          </p:nvSpPr>
          <p:spPr>
            <a:xfrm>
              <a:off x="-2138458" y="54865"/>
              <a:ext cx="1928241" cy="2826069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Прямоугольник: скругленные верхние углы 27">
              <a:extLst>
                <a:ext uri="{FF2B5EF4-FFF2-40B4-BE49-F238E27FC236}">
                  <a16:creationId xmlns:a16="http://schemas.microsoft.com/office/drawing/2014/main" id="{9872BA5A-3054-929B-2FEA-74D99D7CC1B7}"/>
                </a:ext>
              </a:extLst>
            </p:cNvPr>
            <p:cNvSpPr/>
            <p:nvPr/>
          </p:nvSpPr>
          <p:spPr>
            <a:xfrm>
              <a:off x="-2136930" y="0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Размеры текста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E06276D-FE9B-6C65-2089-D67EA95A44C3}"/>
                </a:ext>
              </a:extLst>
            </p:cNvPr>
            <p:cNvSpPr txBox="1"/>
            <p:nvPr/>
          </p:nvSpPr>
          <p:spPr>
            <a:xfrm>
              <a:off x="-1691344" y="2506490"/>
              <a:ext cx="1373969" cy="2428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900" b="0">
                  <a:solidFill>
                    <a:schemeClr val="accent1"/>
                  </a:solidFill>
                </a:rPr>
                <a:t>Используй эти размеры </a:t>
              </a:r>
              <a:br>
                <a:rPr lang="ru-RU" sz="900" b="0">
                  <a:solidFill>
                    <a:schemeClr val="accent1"/>
                  </a:solidFill>
                </a:rPr>
              </a:br>
              <a:r>
                <a:rPr lang="ru-RU" sz="900" b="0">
                  <a:solidFill>
                    <a:schemeClr val="accent1"/>
                  </a:solidFill>
                </a:rPr>
                <a:t>по всей презентации</a:t>
              </a:r>
            </a:p>
          </p:txBody>
        </p:sp>
        <p:sp>
          <p:nvSpPr>
            <p:cNvPr id="57" name="Полилиния: фигура 56">
              <a:extLst>
                <a:ext uri="{FF2B5EF4-FFF2-40B4-BE49-F238E27FC236}">
                  <a16:creationId xmlns:a16="http://schemas.microsoft.com/office/drawing/2014/main" id="{78DE2901-DB4C-83F6-72BC-325CB8411C2E}"/>
                </a:ext>
              </a:extLst>
            </p:cNvPr>
            <p:cNvSpPr/>
            <p:nvPr/>
          </p:nvSpPr>
          <p:spPr>
            <a:xfrm>
              <a:off x="-2004344" y="2488864"/>
              <a:ext cx="216624" cy="228657"/>
            </a:xfrm>
            <a:custGeom>
              <a:avLst/>
              <a:gdLst>
                <a:gd name="connsiteX0" fmla="*/ 72536 w 171450"/>
                <a:gd name="connsiteY0" fmla="*/ 162210 h 180974"/>
                <a:gd name="connsiteX1" fmla="*/ 98923 w 171450"/>
                <a:gd name="connsiteY1" fmla="*/ 162210 h 180974"/>
                <a:gd name="connsiteX2" fmla="*/ 103600 w 171450"/>
                <a:gd name="connsiteY2" fmla="*/ 172160 h 180974"/>
                <a:gd name="connsiteX3" fmla="*/ 85726 w 171450"/>
                <a:gd name="connsiteY3" fmla="*/ 180974 h 180974"/>
                <a:gd name="connsiteX4" fmla="*/ 67852 w 171450"/>
                <a:gd name="connsiteY4" fmla="*/ 172160 h 180974"/>
                <a:gd name="connsiteX5" fmla="*/ 72536 w 171450"/>
                <a:gd name="connsiteY5" fmla="*/ 162210 h 180974"/>
                <a:gd name="connsiteX6" fmla="*/ 152400 w 171450"/>
                <a:gd name="connsiteY6" fmla="*/ 76200 h 180974"/>
                <a:gd name="connsiteX7" fmla="*/ 161925 w 171450"/>
                <a:gd name="connsiteY7" fmla="*/ 76200 h 180974"/>
                <a:gd name="connsiteX8" fmla="*/ 171450 w 171450"/>
                <a:gd name="connsiteY8" fmla="*/ 85725 h 180974"/>
                <a:gd name="connsiteX9" fmla="*/ 161925 w 171450"/>
                <a:gd name="connsiteY9" fmla="*/ 95250 h 180974"/>
                <a:gd name="connsiteX10" fmla="*/ 152400 w 171450"/>
                <a:gd name="connsiteY10" fmla="*/ 95250 h 180974"/>
                <a:gd name="connsiteX11" fmla="*/ 142875 w 171450"/>
                <a:gd name="connsiteY11" fmla="*/ 85725 h 180974"/>
                <a:gd name="connsiteX12" fmla="*/ 152400 w 171450"/>
                <a:gd name="connsiteY12" fmla="*/ 76200 h 180974"/>
                <a:gd name="connsiteX13" fmla="*/ 9525 w 171450"/>
                <a:gd name="connsiteY13" fmla="*/ 76200 h 180974"/>
                <a:gd name="connsiteX14" fmla="*/ 19050 w 171450"/>
                <a:gd name="connsiteY14" fmla="*/ 76200 h 180974"/>
                <a:gd name="connsiteX15" fmla="*/ 28575 w 171450"/>
                <a:gd name="connsiteY15" fmla="*/ 85725 h 180974"/>
                <a:gd name="connsiteX16" fmla="*/ 19050 w 171450"/>
                <a:gd name="connsiteY16" fmla="*/ 95250 h 180974"/>
                <a:gd name="connsiteX17" fmla="*/ 9525 w 171450"/>
                <a:gd name="connsiteY17" fmla="*/ 95250 h 180974"/>
                <a:gd name="connsiteX18" fmla="*/ 0 w 171450"/>
                <a:gd name="connsiteY18" fmla="*/ 85725 h 180974"/>
                <a:gd name="connsiteX19" fmla="*/ 9525 w 171450"/>
                <a:gd name="connsiteY19" fmla="*/ 76200 h 180974"/>
                <a:gd name="connsiteX20" fmla="*/ 85725 w 171450"/>
                <a:gd name="connsiteY20" fmla="*/ 38100 h 180974"/>
                <a:gd name="connsiteX21" fmla="*/ 133350 w 171450"/>
                <a:gd name="connsiteY21" fmla="*/ 85725 h 180974"/>
                <a:gd name="connsiteX22" fmla="*/ 123174 w 171450"/>
                <a:gd name="connsiteY22" fmla="*/ 114596 h 180974"/>
                <a:gd name="connsiteX23" fmla="*/ 114300 w 171450"/>
                <a:gd name="connsiteY23" fmla="*/ 138113 h 180974"/>
                <a:gd name="connsiteX24" fmla="*/ 85725 w 171450"/>
                <a:gd name="connsiteY24" fmla="*/ 152400 h 180974"/>
                <a:gd name="connsiteX25" fmla="*/ 57150 w 171450"/>
                <a:gd name="connsiteY25" fmla="*/ 138113 h 180974"/>
                <a:gd name="connsiteX26" fmla="*/ 48275 w 171450"/>
                <a:gd name="connsiteY26" fmla="*/ 114596 h 180974"/>
                <a:gd name="connsiteX27" fmla="*/ 38100 w 171450"/>
                <a:gd name="connsiteY27" fmla="*/ 85725 h 180974"/>
                <a:gd name="connsiteX28" fmla="*/ 85725 w 171450"/>
                <a:gd name="connsiteY28" fmla="*/ 38100 h 180974"/>
                <a:gd name="connsiteX29" fmla="*/ 136141 w 171450"/>
                <a:gd name="connsiteY29" fmla="*/ 21840 h 180974"/>
                <a:gd name="connsiteX30" fmla="*/ 149611 w 171450"/>
                <a:gd name="connsiteY30" fmla="*/ 21840 h 180974"/>
                <a:gd name="connsiteX31" fmla="*/ 149611 w 171450"/>
                <a:gd name="connsiteY31" fmla="*/ 35310 h 180974"/>
                <a:gd name="connsiteX32" fmla="*/ 140086 w 171450"/>
                <a:gd name="connsiteY32" fmla="*/ 44835 h 180974"/>
                <a:gd name="connsiteX33" fmla="*/ 126616 w 171450"/>
                <a:gd name="connsiteY33" fmla="*/ 44835 h 180974"/>
                <a:gd name="connsiteX34" fmla="*/ 126616 w 171450"/>
                <a:gd name="connsiteY34" fmla="*/ 31365 h 180974"/>
                <a:gd name="connsiteX35" fmla="*/ 21840 w 171450"/>
                <a:gd name="connsiteY35" fmla="*/ 21840 h 180974"/>
                <a:gd name="connsiteX36" fmla="*/ 35310 w 171450"/>
                <a:gd name="connsiteY36" fmla="*/ 21840 h 180974"/>
                <a:gd name="connsiteX37" fmla="*/ 44835 w 171450"/>
                <a:gd name="connsiteY37" fmla="*/ 31365 h 180974"/>
                <a:gd name="connsiteX38" fmla="*/ 44835 w 171450"/>
                <a:gd name="connsiteY38" fmla="*/ 44835 h 180974"/>
                <a:gd name="connsiteX39" fmla="*/ 31365 w 171450"/>
                <a:gd name="connsiteY39" fmla="*/ 44835 h 180974"/>
                <a:gd name="connsiteX40" fmla="*/ 21840 w 171450"/>
                <a:gd name="connsiteY40" fmla="*/ 35310 h 180974"/>
                <a:gd name="connsiteX41" fmla="*/ 21840 w 171450"/>
                <a:gd name="connsiteY41" fmla="*/ 21840 h 180974"/>
                <a:gd name="connsiteX42" fmla="*/ 85725 w 171450"/>
                <a:gd name="connsiteY42" fmla="*/ 0 h 180974"/>
                <a:gd name="connsiteX43" fmla="*/ 95250 w 171450"/>
                <a:gd name="connsiteY43" fmla="*/ 9525 h 180974"/>
                <a:gd name="connsiteX44" fmla="*/ 95250 w 171450"/>
                <a:gd name="connsiteY44" fmla="*/ 19050 h 180974"/>
                <a:gd name="connsiteX45" fmla="*/ 85725 w 171450"/>
                <a:gd name="connsiteY45" fmla="*/ 28575 h 180974"/>
                <a:gd name="connsiteX46" fmla="*/ 76200 w 171450"/>
                <a:gd name="connsiteY46" fmla="*/ 19050 h 180974"/>
                <a:gd name="connsiteX47" fmla="*/ 76200 w 171450"/>
                <a:gd name="connsiteY47" fmla="*/ 9525 h 180974"/>
                <a:gd name="connsiteX48" fmla="*/ 85725 w 171450"/>
                <a:gd name="connsiteY48" fmla="*/ 0 h 18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71450" h="180974">
                  <a:moveTo>
                    <a:pt x="72536" y="162210"/>
                  </a:moveTo>
                  <a:cubicBezTo>
                    <a:pt x="80449" y="164140"/>
                    <a:pt x="90933" y="164211"/>
                    <a:pt x="98923" y="162210"/>
                  </a:cubicBezTo>
                  <a:cubicBezTo>
                    <a:pt x="105617" y="160534"/>
                    <a:pt x="105617" y="166533"/>
                    <a:pt x="103600" y="172160"/>
                  </a:cubicBezTo>
                  <a:cubicBezTo>
                    <a:pt x="100950" y="179549"/>
                    <a:pt x="95451" y="180974"/>
                    <a:pt x="85726" y="180974"/>
                  </a:cubicBezTo>
                  <a:cubicBezTo>
                    <a:pt x="76000" y="180974"/>
                    <a:pt x="70501" y="179549"/>
                    <a:pt x="67852" y="172160"/>
                  </a:cubicBezTo>
                  <a:cubicBezTo>
                    <a:pt x="65835" y="166534"/>
                    <a:pt x="65835" y="160576"/>
                    <a:pt x="72536" y="162210"/>
                  </a:cubicBezTo>
                  <a:close/>
                  <a:moveTo>
                    <a:pt x="152400" y="76200"/>
                  </a:moveTo>
                  <a:lnTo>
                    <a:pt x="161925" y="76200"/>
                  </a:lnTo>
                  <a:cubicBezTo>
                    <a:pt x="167186" y="76200"/>
                    <a:pt x="171450" y="80464"/>
                    <a:pt x="171450" y="85725"/>
                  </a:cubicBezTo>
                  <a:cubicBezTo>
                    <a:pt x="171450" y="90986"/>
                    <a:pt x="167186" y="95250"/>
                    <a:pt x="161925" y="95250"/>
                  </a:cubicBezTo>
                  <a:lnTo>
                    <a:pt x="152400" y="95250"/>
                  </a:lnTo>
                  <a:cubicBezTo>
                    <a:pt x="147139" y="95250"/>
                    <a:pt x="142875" y="90986"/>
                    <a:pt x="142875" y="85725"/>
                  </a:cubicBezTo>
                  <a:cubicBezTo>
                    <a:pt x="142875" y="80464"/>
                    <a:pt x="147139" y="76200"/>
                    <a:pt x="152400" y="76200"/>
                  </a:cubicBezTo>
                  <a:close/>
                  <a:moveTo>
                    <a:pt x="9525" y="76200"/>
                  </a:moveTo>
                  <a:lnTo>
                    <a:pt x="19050" y="76200"/>
                  </a:lnTo>
                  <a:cubicBezTo>
                    <a:pt x="24310" y="76200"/>
                    <a:pt x="28575" y="80464"/>
                    <a:pt x="28575" y="85725"/>
                  </a:cubicBezTo>
                  <a:cubicBezTo>
                    <a:pt x="28575" y="90986"/>
                    <a:pt x="24310" y="95250"/>
                    <a:pt x="19050" y="95250"/>
                  </a:cubicBezTo>
                  <a:lnTo>
                    <a:pt x="9525" y="95250"/>
                  </a:lnTo>
                  <a:cubicBezTo>
                    <a:pt x="4265" y="95250"/>
                    <a:pt x="0" y="90986"/>
                    <a:pt x="0" y="85725"/>
                  </a:cubicBezTo>
                  <a:cubicBezTo>
                    <a:pt x="0" y="80464"/>
                    <a:pt x="4265" y="76200"/>
                    <a:pt x="9525" y="76200"/>
                  </a:cubicBezTo>
                  <a:close/>
                  <a:moveTo>
                    <a:pt x="85725" y="38100"/>
                  </a:moveTo>
                  <a:cubicBezTo>
                    <a:pt x="112027" y="38100"/>
                    <a:pt x="133350" y="58671"/>
                    <a:pt x="133350" y="85725"/>
                  </a:cubicBezTo>
                  <a:cubicBezTo>
                    <a:pt x="133350" y="100663"/>
                    <a:pt x="128144" y="107793"/>
                    <a:pt x="123174" y="114596"/>
                  </a:cubicBezTo>
                  <a:cubicBezTo>
                    <a:pt x="118639" y="120807"/>
                    <a:pt x="114300" y="126748"/>
                    <a:pt x="114300" y="138113"/>
                  </a:cubicBezTo>
                  <a:cubicBezTo>
                    <a:pt x="114300" y="147638"/>
                    <a:pt x="104775" y="152400"/>
                    <a:pt x="85725" y="152400"/>
                  </a:cubicBezTo>
                  <a:cubicBezTo>
                    <a:pt x="66675" y="152400"/>
                    <a:pt x="57150" y="147638"/>
                    <a:pt x="57150" y="138113"/>
                  </a:cubicBezTo>
                  <a:cubicBezTo>
                    <a:pt x="57150" y="126748"/>
                    <a:pt x="52811" y="120807"/>
                    <a:pt x="48275" y="114596"/>
                  </a:cubicBezTo>
                  <a:cubicBezTo>
                    <a:pt x="43306" y="107793"/>
                    <a:pt x="38100" y="100663"/>
                    <a:pt x="38100" y="85725"/>
                  </a:cubicBezTo>
                  <a:cubicBezTo>
                    <a:pt x="38100" y="57150"/>
                    <a:pt x="59422" y="38100"/>
                    <a:pt x="85725" y="38100"/>
                  </a:cubicBezTo>
                  <a:close/>
                  <a:moveTo>
                    <a:pt x="136141" y="21840"/>
                  </a:moveTo>
                  <a:cubicBezTo>
                    <a:pt x="139860" y="18120"/>
                    <a:pt x="145891" y="18120"/>
                    <a:pt x="149611" y="21840"/>
                  </a:cubicBezTo>
                  <a:cubicBezTo>
                    <a:pt x="153330" y="25560"/>
                    <a:pt x="153330" y="31590"/>
                    <a:pt x="149611" y="35310"/>
                  </a:cubicBezTo>
                  <a:lnTo>
                    <a:pt x="140086" y="44835"/>
                  </a:lnTo>
                  <a:cubicBezTo>
                    <a:pt x="136366" y="48555"/>
                    <a:pt x="130335" y="48555"/>
                    <a:pt x="126616" y="44835"/>
                  </a:cubicBezTo>
                  <a:cubicBezTo>
                    <a:pt x="122896" y="41115"/>
                    <a:pt x="122896" y="35085"/>
                    <a:pt x="126616" y="31365"/>
                  </a:cubicBezTo>
                  <a:close/>
                  <a:moveTo>
                    <a:pt x="21840" y="21840"/>
                  </a:moveTo>
                  <a:cubicBezTo>
                    <a:pt x="25560" y="18120"/>
                    <a:pt x="31590" y="18120"/>
                    <a:pt x="35310" y="21840"/>
                  </a:cubicBezTo>
                  <a:lnTo>
                    <a:pt x="44835" y="31365"/>
                  </a:lnTo>
                  <a:cubicBezTo>
                    <a:pt x="48555" y="35085"/>
                    <a:pt x="48555" y="41115"/>
                    <a:pt x="44835" y="44835"/>
                  </a:cubicBezTo>
                  <a:cubicBezTo>
                    <a:pt x="41115" y="48555"/>
                    <a:pt x="35085" y="48555"/>
                    <a:pt x="31365" y="44835"/>
                  </a:cubicBezTo>
                  <a:lnTo>
                    <a:pt x="21840" y="35310"/>
                  </a:lnTo>
                  <a:cubicBezTo>
                    <a:pt x="18120" y="31590"/>
                    <a:pt x="18120" y="25560"/>
                    <a:pt x="21840" y="21840"/>
                  </a:cubicBezTo>
                  <a:close/>
                  <a:moveTo>
                    <a:pt x="85725" y="0"/>
                  </a:moveTo>
                  <a:cubicBezTo>
                    <a:pt x="90986" y="0"/>
                    <a:pt x="95250" y="4265"/>
                    <a:pt x="95250" y="9525"/>
                  </a:cubicBezTo>
                  <a:lnTo>
                    <a:pt x="95250" y="19050"/>
                  </a:lnTo>
                  <a:cubicBezTo>
                    <a:pt x="95250" y="24310"/>
                    <a:pt x="90986" y="28575"/>
                    <a:pt x="85725" y="28575"/>
                  </a:cubicBezTo>
                  <a:cubicBezTo>
                    <a:pt x="80464" y="28575"/>
                    <a:pt x="76200" y="24310"/>
                    <a:pt x="76200" y="19050"/>
                  </a:cubicBezTo>
                  <a:lnTo>
                    <a:pt x="76200" y="9525"/>
                  </a:lnTo>
                  <a:cubicBezTo>
                    <a:pt x="76200" y="4265"/>
                    <a:pt x="80464" y="0"/>
                    <a:pt x="85725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606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0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4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985CD6E-087D-7D18-E079-FFF35855D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49399" y="6465021"/>
            <a:ext cx="8182800" cy="144500"/>
          </a:xfrm>
        </p:spPr>
        <p:txBody>
          <a:bodyPr anchor="b"/>
          <a:lstStyle>
            <a:lvl1pPr>
              <a:defRPr sz="1000">
                <a:solidFill>
                  <a:srgbClr val="5A6C7D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1B8BF84-4C88-A2BF-3322-2EC1F81B3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rgbClr val="5A6C7D"/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/>
            </a:lvl1pPr>
          </a:lstStyle>
          <a:p>
            <a:r>
              <a:rPr lang="ru-RU"/>
              <a:t>Сформулируй заголовок </a:t>
            </a:r>
            <a:br>
              <a:rPr lang="en-US"/>
            </a:br>
            <a:r>
              <a:rPr lang="ru-RU"/>
              <a:t>слайда в 1–2 строки</a:t>
            </a:r>
          </a:p>
        </p:txBody>
      </p:sp>
      <p:sp>
        <p:nvSpPr>
          <p:cNvPr id="7" name="Рисунок 1">
            <a:extLst>
              <a:ext uri="{FF2B5EF4-FFF2-40B4-BE49-F238E27FC236}">
                <a16:creationId xmlns:a16="http://schemas.microsoft.com/office/drawing/2014/main" id="{1595D288-51AE-B2E0-47B2-F59FD62F4F42}"/>
              </a:ext>
            </a:extLst>
          </p:cNvPr>
          <p:cNvSpPr/>
          <p:nvPr/>
        </p:nvSpPr>
        <p:spPr>
          <a:xfrm>
            <a:off x="640541" y="6472839"/>
            <a:ext cx="596000" cy="128865"/>
          </a:xfrm>
          <a:custGeom>
            <a:avLst/>
            <a:gdLst>
              <a:gd name="connsiteX0" fmla="*/ 64809 w 596000"/>
              <a:gd name="connsiteY0" fmla="*/ 0 h 128865"/>
              <a:gd name="connsiteX1" fmla="*/ 0 w 596000"/>
              <a:gd name="connsiteY1" fmla="*/ 64433 h 128865"/>
              <a:gd name="connsiteX2" fmla="*/ 64809 w 596000"/>
              <a:gd name="connsiteY2" fmla="*/ 128865 h 128865"/>
              <a:gd name="connsiteX3" fmla="*/ 129619 w 596000"/>
              <a:gd name="connsiteY3" fmla="*/ 64433 h 128865"/>
              <a:gd name="connsiteX4" fmla="*/ 64809 w 596000"/>
              <a:gd name="connsiteY4" fmla="*/ 0 h 128865"/>
              <a:gd name="connsiteX5" fmla="*/ 64809 w 596000"/>
              <a:gd name="connsiteY5" fmla="*/ 99096 h 128865"/>
              <a:gd name="connsiteX6" fmla="*/ 29944 w 596000"/>
              <a:gd name="connsiteY6" fmla="*/ 64433 h 128865"/>
              <a:gd name="connsiteX7" fmla="*/ 64809 w 596000"/>
              <a:gd name="connsiteY7" fmla="*/ 29769 h 128865"/>
              <a:gd name="connsiteX8" fmla="*/ 99675 w 596000"/>
              <a:gd name="connsiteY8" fmla="*/ 64433 h 128865"/>
              <a:gd name="connsiteX9" fmla="*/ 64809 w 596000"/>
              <a:gd name="connsiteY9" fmla="*/ 99096 h 128865"/>
              <a:gd name="connsiteX10" fmla="*/ 363835 w 596000"/>
              <a:gd name="connsiteY10" fmla="*/ 0 h 128865"/>
              <a:gd name="connsiteX11" fmla="*/ 272774 w 596000"/>
              <a:gd name="connsiteY11" fmla="*/ 64433 h 128865"/>
              <a:gd name="connsiteX12" fmla="*/ 363835 w 596000"/>
              <a:gd name="connsiteY12" fmla="*/ 128865 h 128865"/>
              <a:gd name="connsiteX13" fmla="*/ 454897 w 596000"/>
              <a:gd name="connsiteY13" fmla="*/ 64433 h 128865"/>
              <a:gd name="connsiteX14" fmla="*/ 363835 w 596000"/>
              <a:gd name="connsiteY14" fmla="*/ 0 h 128865"/>
              <a:gd name="connsiteX15" fmla="*/ 363835 w 596000"/>
              <a:gd name="connsiteY15" fmla="*/ 99096 h 128865"/>
              <a:gd name="connsiteX16" fmla="*/ 303127 w 596000"/>
              <a:gd name="connsiteY16" fmla="*/ 64840 h 128865"/>
              <a:gd name="connsiteX17" fmla="*/ 363835 w 596000"/>
              <a:gd name="connsiteY17" fmla="*/ 30585 h 128865"/>
              <a:gd name="connsiteX18" fmla="*/ 424541 w 596000"/>
              <a:gd name="connsiteY18" fmla="*/ 64840 h 128865"/>
              <a:gd name="connsiteX19" fmla="*/ 363835 w 596000"/>
              <a:gd name="connsiteY19" fmla="*/ 99096 h 128865"/>
              <a:gd name="connsiteX20" fmla="*/ 580822 w 596000"/>
              <a:gd name="connsiteY20" fmla="*/ 2855 h 128865"/>
              <a:gd name="connsiteX21" fmla="*/ 565644 w 596000"/>
              <a:gd name="connsiteY21" fmla="*/ 17943 h 128865"/>
              <a:gd name="connsiteX22" fmla="*/ 565644 w 596000"/>
              <a:gd name="connsiteY22" fmla="*/ 68511 h 128865"/>
              <a:gd name="connsiteX23" fmla="*/ 483610 w 596000"/>
              <a:gd name="connsiteY23" fmla="*/ 3670 h 128865"/>
              <a:gd name="connsiteX24" fmla="*/ 476635 w 596000"/>
              <a:gd name="connsiteY24" fmla="*/ 6933 h 128865"/>
              <a:gd name="connsiteX25" fmla="*/ 476635 w 596000"/>
              <a:gd name="connsiteY25" fmla="*/ 110922 h 128865"/>
              <a:gd name="connsiteX26" fmla="*/ 491813 w 596000"/>
              <a:gd name="connsiteY26" fmla="*/ 126010 h 128865"/>
              <a:gd name="connsiteX27" fmla="*/ 506991 w 596000"/>
              <a:gd name="connsiteY27" fmla="*/ 110922 h 128865"/>
              <a:gd name="connsiteX28" fmla="*/ 506991 w 596000"/>
              <a:gd name="connsiteY28" fmla="*/ 60762 h 128865"/>
              <a:gd name="connsiteX29" fmla="*/ 589025 w 596000"/>
              <a:gd name="connsiteY29" fmla="*/ 125603 h 128865"/>
              <a:gd name="connsiteX30" fmla="*/ 596000 w 596000"/>
              <a:gd name="connsiteY30" fmla="*/ 122340 h 128865"/>
              <a:gd name="connsiteX31" fmla="*/ 596000 w 596000"/>
              <a:gd name="connsiteY31" fmla="*/ 17943 h 128865"/>
              <a:gd name="connsiteX32" fmla="*/ 580822 w 596000"/>
              <a:gd name="connsiteY32" fmla="*/ 2855 h 128865"/>
              <a:gd name="connsiteX33" fmla="*/ 248983 w 596000"/>
              <a:gd name="connsiteY33" fmla="*/ 96241 h 128865"/>
              <a:gd name="connsiteX34" fmla="*/ 197299 w 596000"/>
              <a:gd name="connsiteY34" fmla="*/ 96241 h 128865"/>
              <a:gd name="connsiteX35" fmla="*/ 262929 w 596000"/>
              <a:gd name="connsiteY35" fmla="*/ 9787 h 128865"/>
              <a:gd name="connsiteX36" fmla="*/ 259648 w 596000"/>
              <a:gd name="connsiteY36" fmla="*/ 2855 h 128865"/>
              <a:gd name="connsiteX37" fmla="*/ 164484 w 596000"/>
              <a:gd name="connsiteY37" fmla="*/ 2855 h 128865"/>
              <a:gd name="connsiteX38" fmla="*/ 149308 w 596000"/>
              <a:gd name="connsiteY38" fmla="*/ 17943 h 128865"/>
              <a:gd name="connsiteX39" fmla="*/ 164484 w 596000"/>
              <a:gd name="connsiteY39" fmla="*/ 33032 h 128865"/>
              <a:gd name="connsiteX40" fmla="*/ 207554 w 596000"/>
              <a:gd name="connsiteY40" fmla="*/ 33032 h 128865"/>
              <a:gd name="connsiteX41" fmla="*/ 141514 w 596000"/>
              <a:gd name="connsiteY41" fmla="*/ 119486 h 128865"/>
              <a:gd name="connsiteX42" fmla="*/ 145206 w 596000"/>
              <a:gd name="connsiteY42" fmla="*/ 126418 h 128865"/>
              <a:gd name="connsiteX43" fmla="*/ 248983 w 596000"/>
              <a:gd name="connsiteY43" fmla="*/ 126418 h 128865"/>
              <a:gd name="connsiteX44" fmla="*/ 264160 w 596000"/>
              <a:gd name="connsiteY44" fmla="*/ 111330 h 128865"/>
              <a:gd name="connsiteX45" fmla="*/ 248983 w 596000"/>
              <a:gd name="connsiteY45" fmla="*/ 96241 h 128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96000" h="128865">
                <a:moveTo>
                  <a:pt x="64809" y="0"/>
                </a:moveTo>
                <a:cubicBezTo>
                  <a:pt x="29123" y="0"/>
                  <a:pt x="0" y="28954"/>
                  <a:pt x="0" y="64433"/>
                </a:cubicBezTo>
                <a:cubicBezTo>
                  <a:pt x="0" y="99911"/>
                  <a:pt x="29123" y="128865"/>
                  <a:pt x="64809" y="128865"/>
                </a:cubicBezTo>
                <a:cubicBezTo>
                  <a:pt x="100906" y="128865"/>
                  <a:pt x="129619" y="99911"/>
                  <a:pt x="129619" y="64433"/>
                </a:cubicBezTo>
                <a:cubicBezTo>
                  <a:pt x="129619" y="28954"/>
                  <a:pt x="100906" y="0"/>
                  <a:pt x="64809" y="0"/>
                </a:cubicBezTo>
                <a:close/>
                <a:moveTo>
                  <a:pt x="64809" y="99096"/>
                </a:moveTo>
                <a:cubicBezTo>
                  <a:pt x="45531" y="99096"/>
                  <a:pt x="29944" y="83599"/>
                  <a:pt x="29944" y="64433"/>
                </a:cubicBezTo>
                <a:cubicBezTo>
                  <a:pt x="29944" y="45266"/>
                  <a:pt x="45531" y="29769"/>
                  <a:pt x="64809" y="29769"/>
                </a:cubicBezTo>
                <a:cubicBezTo>
                  <a:pt x="84088" y="29769"/>
                  <a:pt x="99675" y="45266"/>
                  <a:pt x="99675" y="64433"/>
                </a:cubicBezTo>
                <a:cubicBezTo>
                  <a:pt x="99675" y="83599"/>
                  <a:pt x="84088" y="99096"/>
                  <a:pt x="64809" y="99096"/>
                </a:cubicBezTo>
                <a:close/>
                <a:moveTo>
                  <a:pt x="363835" y="0"/>
                </a:moveTo>
                <a:cubicBezTo>
                  <a:pt x="313382" y="0"/>
                  <a:pt x="272774" y="28954"/>
                  <a:pt x="272774" y="64433"/>
                </a:cubicBezTo>
                <a:cubicBezTo>
                  <a:pt x="272774" y="99911"/>
                  <a:pt x="313382" y="128865"/>
                  <a:pt x="363835" y="128865"/>
                </a:cubicBezTo>
                <a:cubicBezTo>
                  <a:pt x="414288" y="128865"/>
                  <a:pt x="454897" y="99911"/>
                  <a:pt x="454897" y="64433"/>
                </a:cubicBezTo>
                <a:cubicBezTo>
                  <a:pt x="454897" y="28954"/>
                  <a:pt x="413878" y="0"/>
                  <a:pt x="363835" y="0"/>
                </a:cubicBezTo>
                <a:close/>
                <a:moveTo>
                  <a:pt x="363835" y="99096"/>
                </a:moveTo>
                <a:cubicBezTo>
                  <a:pt x="328969" y="99096"/>
                  <a:pt x="303127" y="80744"/>
                  <a:pt x="303127" y="64840"/>
                </a:cubicBezTo>
                <a:cubicBezTo>
                  <a:pt x="303127" y="48936"/>
                  <a:pt x="328969" y="30585"/>
                  <a:pt x="363835" y="30585"/>
                </a:cubicBezTo>
                <a:cubicBezTo>
                  <a:pt x="398701" y="30585"/>
                  <a:pt x="424541" y="48936"/>
                  <a:pt x="424541" y="64840"/>
                </a:cubicBezTo>
                <a:cubicBezTo>
                  <a:pt x="424541" y="80744"/>
                  <a:pt x="398290" y="99096"/>
                  <a:pt x="363835" y="99096"/>
                </a:cubicBezTo>
                <a:close/>
                <a:moveTo>
                  <a:pt x="580822" y="2855"/>
                </a:moveTo>
                <a:cubicBezTo>
                  <a:pt x="572619" y="2855"/>
                  <a:pt x="565644" y="9787"/>
                  <a:pt x="565644" y="17943"/>
                </a:cubicBezTo>
                <a:lnTo>
                  <a:pt x="565644" y="68511"/>
                </a:lnTo>
                <a:lnTo>
                  <a:pt x="483610" y="3670"/>
                </a:lnTo>
                <a:cubicBezTo>
                  <a:pt x="480738" y="1223"/>
                  <a:pt x="476635" y="3262"/>
                  <a:pt x="476635" y="6933"/>
                </a:cubicBezTo>
                <a:lnTo>
                  <a:pt x="476635" y="110922"/>
                </a:lnTo>
                <a:cubicBezTo>
                  <a:pt x="476635" y="119078"/>
                  <a:pt x="483610" y="126010"/>
                  <a:pt x="491813" y="126010"/>
                </a:cubicBezTo>
                <a:cubicBezTo>
                  <a:pt x="500016" y="126010"/>
                  <a:pt x="506991" y="119078"/>
                  <a:pt x="506991" y="110922"/>
                </a:cubicBezTo>
                <a:lnTo>
                  <a:pt x="506991" y="60762"/>
                </a:lnTo>
                <a:lnTo>
                  <a:pt x="589025" y="125603"/>
                </a:lnTo>
                <a:cubicBezTo>
                  <a:pt x="591897" y="128050"/>
                  <a:pt x="596000" y="126010"/>
                  <a:pt x="596000" y="122340"/>
                </a:cubicBezTo>
                <a:lnTo>
                  <a:pt x="596000" y="17943"/>
                </a:lnTo>
                <a:cubicBezTo>
                  <a:pt x="596000" y="9787"/>
                  <a:pt x="589025" y="2855"/>
                  <a:pt x="580822" y="2855"/>
                </a:cubicBezTo>
                <a:close/>
                <a:moveTo>
                  <a:pt x="248983" y="96241"/>
                </a:moveTo>
                <a:lnTo>
                  <a:pt x="197299" y="96241"/>
                </a:lnTo>
                <a:lnTo>
                  <a:pt x="262929" y="9787"/>
                </a:lnTo>
                <a:cubicBezTo>
                  <a:pt x="264980" y="6933"/>
                  <a:pt x="262929" y="2855"/>
                  <a:pt x="259648" y="2855"/>
                </a:cubicBezTo>
                <a:lnTo>
                  <a:pt x="164484" y="2855"/>
                </a:lnTo>
                <a:cubicBezTo>
                  <a:pt x="156281" y="2855"/>
                  <a:pt x="149308" y="9787"/>
                  <a:pt x="149308" y="17943"/>
                </a:cubicBezTo>
                <a:cubicBezTo>
                  <a:pt x="149308" y="26099"/>
                  <a:pt x="156281" y="33032"/>
                  <a:pt x="164484" y="33032"/>
                </a:cubicBezTo>
                <a:lnTo>
                  <a:pt x="207554" y="33032"/>
                </a:lnTo>
                <a:lnTo>
                  <a:pt x="141514" y="119486"/>
                </a:lnTo>
                <a:cubicBezTo>
                  <a:pt x="139463" y="122340"/>
                  <a:pt x="141514" y="126418"/>
                  <a:pt x="145206" y="126418"/>
                </a:cubicBezTo>
                <a:lnTo>
                  <a:pt x="248983" y="126418"/>
                </a:lnTo>
                <a:cubicBezTo>
                  <a:pt x="257186" y="126418"/>
                  <a:pt x="264160" y="119486"/>
                  <a:pt x="264160" y="111330"/>
                </a:cubicBezTo>
                <a:cubicBezTo>
                  <a:pt x="264160" y="103174"/>
                  <a:pt x="257186" y="96241"/>
                  <a:pt x="248983" y="96241"/>
                </a:cubicBezTo>
                <a:close/>
              </a:path>
            </a:pathLst>
          </a:custGeom>
          <a:solidFill>
            <a:schemeClr val="tx1"/>
          </a:solidFill>
          <a:ln w="399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aphicFrame>
        <p:nvGraphicFramePr>
          <p:cNvPr id="46" name="Таблица 46">
            <a:extLst>
              <a:ext uri="{FF2B5EF4-FFF2-40B4-BE49-F238E27FC236}">
                <a16:creationId xmlns:a16="http://schemas.microsoft.com/office/drawing/2014/main" id="{16AD7780-25A8-C111-96FC-5E75B5A0C4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078087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CEFD538C-FA8E-7FEB-7646-11CBD8E487D7}"/>
              </a:ext>
            </a:extLst>
          </p:cNvPr>
          <p:cNvGrpSpPr/>
          <p:nvPr userDrawn="1"/>
        </p:nvGrpSpPr>
        <p:grpSpPr>
          <a:xfrm>
            <a:off x="-2131314" y="5782119"/>
            <a:ext cx="1928240" cy="1075881"/>
            <a:chOff x="-2131314" y="5782119"/>
            <a:chExt cx="1928240" cy="1075881"/>
          </a:xfrm>
        </p:grpSpPr>
        <p:sp>
          <p:nvSpPr>
            <p:cNvPr id="90" name="Прямоугольник: скругленные углы 89">
              <a:extLst>
                <a:ext uri="{FF2B5EF4-FFF2-40B4-BE49-F238E27FC236}">
                  <a16:creationId xmlns:a16="http://schemas.microsoft.com/office/drawing/2014/main" id="{9FBBDF2D-B6AA-7C42-E7A8-1F2C6E580F57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F9B3039A-0474-03BA-F180-3615605F4E3F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95" name="Рисунок 93">
              <a:extLst>
                <a:ext uri="{FF2B5EF4-FFF2-40B4-BE49-F238E27FC236}">
                  <a16:creationId xmlns:a16="http://schemas.microsoft.com/office/drawing/2014/main" id="{73304B93-8BA8-B417-7E41-6F569E8C14A0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9A64D423-6D96-E041-2DD6-6B8FE1A7051B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CA252D23-0362-3ABC-AED3-B98F27A20B40}"/>
              </a:ext>
            </a:extLst>
          </p:cNvPr>
          <p:cNvGrpSpPr/>
          <p:nvPr userDrawn="1"/>
        </p:nvGrpSpPr>
        <p:grpSpPr>
          <a:xfrm>
            <a:off x="-2138458" y="3070447"/>
            <a:ext cx="1928241" cy="2523683"/>
            <a:chOff x="-2138458" y="3070447"/>
            <a:chExt cx="1928241" cy="2523683"/>
          </a:xfrm>
        </p:grpSpPr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F42E0623-38F7-A50B-7CCA-8FA49D784B02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Прямоугольник: скругленные верхние углы 58">
              <a:extLst>
                <a:ext uri="{FF2B5EF4-FFF2-40B4-BE49-F238E27FC236}">
                  <a16:creationId xmlns:a16="http://schemas.microsoft.com/office/drawing/2014/main" id="{8F041766-36F9-9509-C8B4-40232A368A7F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E8DE30C-D978-9641-8FAD-C2B48D85CE79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62" name="Прямоугольник: скругленные углы 61">
              <a:extLst>
                <a:ext uri="{FF2B5EF4-FFF2-40B4-BE49-F238E27FC236}">
                  <a16:creationId xmlns:a16="http://schemas.microsoft.com/office/drawing/2014/main" id="{048EF23C-A368-A68F-C5E0-1143EA66DF21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Прямоугольник: скругленные углы 62">
              <a:extLst>
                <a:ext uri="{FF2B5EF4-FFF2-40B4-BE49-F238E27FC236}">
                  <a16:creationId xmlns:a16="http://schemas.microsoft.com/office/drawing/2014/main" id="{A71F8CBF-6A2F-812E-6B09-B4F91F87DC56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5D36134D-A530-1A43-8E23-7A1EA29FD974}"/>
                </a:ext>
              </a:extLst>
            </p:cNvPr>
            <p:cNvSpPr/>
            <p:nvPr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Прямоугольник: скругленные углы 68">
              <a:extLst>
                <a:ext uri="{FF2B5EF4-FFF2-40B4-BE49-F238E27FC236}">
                  <a16:creationId xmlns:a16="http://schemas.microsoft.com/office/drawing/2014/main" id="{48DD726A-8157-51D0-7992-ED0334CAEE15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8230E83E-9184-027A-2DD2-219E747112A8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71" name="Прямоугольник: скругленные углы 70">
              <a:extLst>
                <a:ext uri="{FF2B5EF4-FFF2-40B4-BE49-F238E27FC236}">
                  <a16:creationId xmlns:a16="http://schemas.microsoft.com/office/drawing/2014/main" id="{0C730AAB-CD5C-40B7-905D-4A580D2BC0B4}"/>
                </a:ext>
              </a:extLst>
            </p:cNvPr>
            <p:cNvSpPr/>
            <p:nvPr/>
          </p:nvSpPr>
          <p:spPr>
            <a:xfrm>
              <a:off x="-1209774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2" name="Прямоугольник: скругленные углы 71">
              <a:extLst>
                <a:ext uri="{FF2B5EF4-FFF2-40B4-BE49-F238E27FC236}">
                  <a16:creationId xmlns:a16="http://schemas.microsoft.com/office/drawing/2014/main" id="{FB72CAE4-9A5F-F061-A1FA-1E7CF355F8E5}"/>
                </a:ext>
              </a:extLst>
            </p:cNvPr>
            <p:cNvSpPr/>
            <p:nvPr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4" name="Прямоугольник: скругленные углы 73">
              <a:extLst>
                <a:ext uri="{FF2B5EF4-FFF2-40B4-BE49-F238E27FC236}">
                  <a16:creationId xmlns:a16="http://schemas.microsoft.com/office/drawing/2014/main" id="{6AA3F13C-4B77-B003-F353-8D3783FBE7AA}"/>
                </a:ext>
              </a:extLst>
            </p:cNvPr>
            <p:cNvSpPr/>
            <p:nvPr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5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Прямоугольник: скругленные углы 74">
              <a:extLst>
                <a:ext uri="{FF2B5EF4-FFF2-40B4-BE49-F238E27FC236}">
                  <a16:creationId xmlns:a16="http://schemas.microsoft.com/office/drawing/2014/main" id="{EB57B6F5-6B09-9952-5AEF-46221A63E724}"/>
                </a:ext>
              </a:extLst>
            </p:cNvPr>
            <p:cNvSpPr/>
            <p:nvPr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1"/>
                </a:solidFill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75EA4B5D-C619-1C5B-4B9C-8E37163B174C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80" name="Прямоугольник: скругленные углы 79">
              <a:extLst>
                <a:ext uri="{FF2B5EF4-FFF2-40B4-BE49-F238E27FC236}">
                  <a16:creationId xmlns:a16="http://schemas.microsoft.com/office/drawing/2014/main" id="{BB7CF2A3-0EAB-BD8F-9360-12824443E6F6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02E7F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3" name="Прямоугольник: скругленные углы 82">
              <a:extLst>
                <a:ext uri="{FF2B5EF4-FFF2-40B4-BE49-F238E27FC236}">
                  <a16:creationId xmlns:a16="http://schemas.microsoft.com/office/drawing/2014/main" id="{003CEAB0-FB45-E651-28CB-C992E96682AE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4" name="Прямоугольник: скругленные углы 83">
              <a:extLst>
                <a:ext uri="{FF2B5EF4-FFF2-40B4-BE49-F238E27FC236}">
                  <a16:creationId xmlns:a16="http://schemas.microsoft.com/office/drawing/2014/main" id="{D8A87001-7504-170C-42DA-1C8955C7E5E9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5" name="Прямоугольник: скругленные углы 84">
              <a:extLst>
                <a:ext uri="{FF2B5EF4-FFF2-40B4-BE49-F238E27FC236}">
                  <a16:creationId xmlns:a16="http://schemas.microsoft.com/office/drawing/2014/main" id="{4115BFEA-91B0-7165-C99B-6D9CA6EE0ECB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A6B2DE75-2183-A2E6-268C-6B4288D2864C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87" name="Прямоугольник: скругленные углы 86">
              <a:extLst>
                <a:ext uri="{FF2B5EF4-FFF2-40B4-BE49-F238E27FC236}">
                  <a16:creationId xmlns:a16="http://schemas.microsoft.com/office/drawing/2014/main" id="{2431CF80-2A6A-CDF1-7FA9-9F4FEE52EB2D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рямоугольник: скругленные углы 13">
              <a:extLst>
                <a:ext uri="{FF2B5EF4-FFF2-40B4-BE49-F238E27FC236}">
                  <a16:creationId xmlns:a16="http://schemas.microsoft.com/office/drawing/2014/main" id="{AC3E90A0-A83D-7E29-F145-AA600291AE0C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: скругленные углы 14">
              <a:extLst>
                <a:ext uri="{FF2B5EF4-FFF2-40B4-BE49-F238E27FC236}">
                  <a16:creationId xmlns:a16="http://schemas.microsoft.com/office/drawing/2014/main" id="{B99D43E0-49F1-8209-4F98-5262F28AC1A9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BCEC3CD9-44E1-EECA-E818-76B9BFE7DD61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Прямоугольник: скругленные углы 20">
              <a:extLst>
                <a:ext uri="{FF2B5EF4-FFF2-40B4-BE49-F238E27FC236}">
                  <a16:creationId xmlns:a16="http://schemas.microsoft.com/office/drawing/2014/main" id="{543906E8-9B34-89C2-4269-843FAD6EA354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Прямоугольник: скругленные углы 21">
              <a:extLst>
                <a:ext uri="{FF2B5EF4-FFF2-40B4-BE49-F238E27FC236}">
                  <a16:creationId xmlns:a16="http://schemas.microsoft.com/office/drawing/2014/main" id="{C8C80097-0ECD-AAAD-2C0F-1869371B37D0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Прямоугольник: скругленные углы 22">
              <a:extLst>
                <a:ext uri="{FF2B5EF4-FFF2-40B4-BE49-F238E27FC236}">
                  <a16:creationId xmlns:a16="http://schemas.microsoft.com/office/drawing/2014/main" id="{AB934DEE-0052-5D57-1578-12DF5ADB4828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061196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0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4692F5B7-B90A-C91A-2047-FDFD8FC7FE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47999" y="6465021"/>
            <a:ext cx="8182800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Заголовок 1">
            <a:extLst>
              <a:ext uri="{FF2B5EF4-FFF2-40B4-BE49-F238E27FC236}">
                <a16:creationId xmlns:a16="http://schemas.microsoft.com/office/drawing/2014/main" id="{64D5D928-54C7-0515-241F-75818620F1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4"/>
            <a:ext cx="10910888" cy="3588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слайда в 1 строку</a:t>
            </a:r>
          </a:p>
        </p:txBody>
      </p:sp>
      <p:sp>
        <p:nvSpPr>
          <p:cNvPr id="36" name="Текст 10">
            <a:extLst>
              <a:ext uri="{FF2B5EF4-FFF2-40B4-BE49-F238E27FC236}">
                <a16:creationId xmlns:a16="http://schemas.microsoft.com/office/drawing/2014/main" id="{214F87F9-9F23-A982-C724-BD3B326E88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763" y="833072"/>
            <a:ext cx="10926762" cy="358858"/>
          </a:xfrm>
        </p:spPr>
        <p:txBody>
          <a:bodyPr/>
          <a:lstStyle>
            <a:lvl1pPr>
              <a:lnSpc>
                <a:spcPct val="9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Сформулируй подзаголовок в 1–2 строки</a:t>
            </a:r>
          </a:p>
        </p:txBody>
      </p:sp>
      <p:sp>
        <p:nvSpPr>
          <p:cNvPr id="37" name="Прямоугольник: скругленные углы 36">
            <a:extLst>
              <a:ext uri="{FF2B5EF4-FFF2-40B4-BE49-F238E27FC236}">
                <a16:creationId xmlns:a16="http://schemas.microsoft.com/office/drawing/2014/main" id="{FA396019-081A-9B04-222C-8B96235EC847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: скругленные верхние углы 37">
            <a:extLst>
              <a:ext uri="{FF2B5EF4-FFF2-40B4-BE49-F238E27FC236}">
                <a16:creationId xmlns:a16="http://schemas.microsoft.com/office/drawing/2014/main" id="{CC120812-6660-E8D7-71B4-58E1CA35329D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9" name="Таблица 46">
            <a:extLst>
              <a:ext uri="{FF2B5EF4-FFF2-40B4-BE49-F238E27FC236}">
                <a16:creationId xmlns:a16="http://schemas.microsoft.com/office/drawing/2014/main" id="{C214627B-A561-23DE-11FC-3859ACF30955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40" name="Полилиния: фигура 39">
            <a:extLst>
              <a:ext uri="{FF2B5EF4-FFF2-40B4-BE49-F238E27FC236}">
                <a16:creationId xmlns:a16="http://schemas.microsoft.com/office/drawing/2014/main" id="{D1137D18-51FF-7720-A2D7-B37EEEBBCC0C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23B159E9-20E8-0A2B-3C13-5DC3075723AD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41" name="Прямоугольник: скругленные углы 40">
              <a:extLst>
                <a:ext uri="{FF2B5EF4-FFF2-40B4-BE49-F238E27FC236}">
                  <a16:creationId xmlns:a16="http://schemas.microsoft.com/office/drawing/2014/main" id="{566337A3-419B-5548-427C-8BBD150D3D1C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2" name="Прямоугольник: скругленные верхние углы 41">
              <a:extLst>
                <a:ext uri="{FF2B5EF4-FFF2-40B4-BE49-F238E27FC236}">
                  <a16:creationId xmlns:a16="http://schemas.microsoft.com/office/drawing/2014/main" id="{A7CA02EB-2903-E635-74FB-6FD510BF6B1B}"/>
                </a:ext>
              </a:extLst>
            </p:cNvPr>
            <p:cNvSpPr/>
            <p:nvPr userDrawn="1"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A74777F-4787-A2C5-15DD-B87E53B916AE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BA2A9BEF-B764-3057-4F8B-338F03CDC0B3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5" name="Прямоугольник: скругленные углы 44">
              <a:extLst>
                <a:ext uri="{FF2B5EF4-FFF2-40B4-BE49-F238E27FC236}">
                  <a16:creationId xmlns:a16="http://schemas.microsoft.com/office/drawing/2014/main" id="{E9781EB1-E747-7F6E-40F9-2C6050FE3163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Прямоугольник: скругленные углы 45">
              <a:extLst>
                <a:ext uri="{FF2B5EF4-FFF2-40B4-BE49-F238E27FC236}">
                  <a16:creationId xmlns:a16="http://schemas.microsoft.com/office/drawing/2014/main" id="{539332B0-2BC3-3264-9290-9C4B7DAE3DC6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Прямоугольник: скругленные углы 46">
              <a:extLst>
                <a:ext uri="{FF2B5EF4-FFF2-40B4-BE49-F238E27FC236}">
                  <a16:creationId xmlns:a16="http://schemas.microsoft.com/office/drawing/2014/main" id="{A97C9E13-AAE9-2957-FD8A-DBADEDC872E5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AC0EA1C8-48E3-AB0E-23C6-CB04284ECB59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42120B1C-D546-C088-A954-7C4E256ACCCC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0" name="Прямоугольник: скругленные углы 49">
              <a:extLst>
                <a:ext uri="{FF2B5EF4-FFF2-40B4-BE49-F238E27FC236}">
                  <a16:creationId xmlns:a16="http://schemas.microsoft.com/office/drawing/2014/main" id="{8934E3AD-FD04-2A84-260C-FF2AD50AFF9C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6FE8020-B466-057C-1F3A-DDD528CCF9E3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52" name="Прямоугольник: скругленные углы 51">
              <a:extLst>
                <a:ext uri="{FF2B5EF4-FFF2-40B4-BE49-F238E27FC236}">
                  <a16:creationId xmlns:a16="http://schemas.microsoft.com/office/drawing/2014/main" id="{F083C728-8AD4-AC9D-1F10-9BE01006AC6B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9008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E0D4F730-CDDC-3B01-F46F-7335AD6D169C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6ABD7DA2-B7D2-83B7-715B-871892EEDB40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56ABA9E4-CE2F-FCA3-F06D-C1A0F3B10929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EF333911-2F76-C19D-5E60-B585B698547E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CDA811FA-7E2C-7C48-DA23-4270E8038F0A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C07589DC-A73D-9F91-411D-2965D80692BA}"/>
                </a:ext>
              </a:extLst>
            </p:cNvPr>
            <p:cNvSpPr/>
            <p:nvPr userDrawn="1"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02B4939-2531-61DB-17CE-79C27E0602CA}"/>
                </a:ext>
              </a:extLst>
            </p:cNvPr>
            <p:cNvSpPr txBox="1"/>
            <p:nvPr userDrawn="1"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60" name="Рисунок 93">
              <a:extLst>
                <a:ext uri="{FF2B5EF4-FFF2-40B4-BE49-F238E27FC236}">
                  <a16:creationId xmlns:a16="http://schemas.microsoft.com/office/drawing/2014/main" id="{B38423FC-7E3E-FA33-A345-C5CE15C79436}"/>
                </a:ext>
              </a:extLst>
            </p:cNvPr>
            <p:cNvSpPr/>
            <p:nvPr userDrawn="1"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BE6FB665-8540-DB40-CB2D-A53C8528A2D4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503DEC01-33DE-5CEB-6FB2-3EA97F7A6BDF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64">
              <a:extLst>
                <a:ext uri="{FF2B5EF4-FFF2-40B4-BE49-F238E27FC236}">
                  <a16:creationId xmlns:a16="http://schemas.microsoft.com/office/drawing/2014/main" id="{9FAC5470-8232-E507-4C50-451393513E8C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65">
              <a:extLst>
                <a:ext uri="{FF2B5EF4-FFF2-40B4-BE49-F238E27FC236}">
                  <a16:creationId xmlns:a16="http://schemas.microsoft.com/office/drawing/2014/main" id="{853C56D5-7633-05A9-4CA3-85866E367022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EC930174-278D-1164-093F-8AF71562C0CA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5" name="Рисунок 1">
            <a:extLst>
              <a:ext uri="{FF2B5EF4-FFF2-40B4-BE49-F238E27FC236}">
                <a16:creationId xmlns:a16="http://schemas.microsoft.com/office/drawing/2014/main" id="{0504D573-64F8-CE59-7A8C-2438E404DFD6}"/>
              </a:ext>
            </a:extLst>
          </p:cNvPr>
          <p:cNvSpPr/>
          <p:nvPr userDrawn="1"/>
        </p:nvSpPr>
        <p:spPr>
          <a:xfrm>
            <a:off x="640541" y="6472839"/>
            <a:ext cx="596000" cy="128865"/>
          </a:xfrm>
          <a:custGeom>
            <a:avLst/>
            <a:gdLst>
              <a:gd name="connsiteX0" fmla="*/ 64809 w 596000"/>
              <a:gd name="connsiteY0" fmla="*/ 0 h 128865"/>
              <a:gd name="connsiteX1" fmla="*/ 0 w 596000"/>
              <a:gd name="connsiteY1" fmla="*/ 64433 h 128865"/>
              <a:gd name="connsiteX2" fmla="*/ 64809 w 596000"/>
              <a:gd name="connsiteY2" fmla="*/ 128865 h 128865"/>
              <a:gd name="connsiteX3" fmla="*/ 129619 w 596000"/>
              <a:gd name="connsiteY3" fmla="*/ 64433 h 128865"/>
              <a:gd name="connsiteX4" fmla="*/ 64809 w 596000"/>
              <a:gd name="connsiteY4" fmla="*/ 0 h 128865"/>
              <a:gd name="connsiteX5" fmla="*/ 64809 w 596000"/>
              <a:gd name="connsiteY5" fmla="*/ 99096 h 128865"/>
              <a:gd name="connsiteX6" fmla="*/ 29944 w 596000"/>
              <a:gd name="connsiteY6" fmla="*/ 64433 h 128865"/>
              <a:gd name="connsiteX7" fmla="*/ 64809 w 596000"/>
              <a:gd name="connsiteY7" fmla="*/ 29769 h 128865"/>
              <a:gd name="connsiteX8" fmla="*/ 99675 w 596000"/>
              <a:gd name="connsiteY8" fmla="*/ 64433 h 128865"/>
              <a:gd name="connsiteX9" fmla="*/ 64809 w 596000"/>
              <a:gd name="connsiteY9" fmla="*/ 99096 h 128865"/>
              <a:gd name="connsiteX10" fmla="*/ 363835 w 596000"/>
              <a:gd name="connsiteY10" fmla="*/ 0 h 128865"/>
              <a:gd name="connsiteX11" fmla="*/ 272774 w 596000"/>
              <a:gd name="connsiteY11" fmla="*/ 64433 h 128865"/>
              <a:gd name="connsiteX12" fmla="*/ 363835 w 596000"/>
              <a:gd name="connsiteY12" fmla="*/ 128865 h 128865"/>
              <a:gd name="connsiteX13" fmla="*/ 454897 w 596000"/>
              <a:gd name="connsiteY13" fmla="*/ 64433 h 128865"/>
              <a:gd name="connsiteX14" fmla="*/ 363835 w 596000"/>
              <a:gd name="connsiteY14" fmla="*/ 0 h 128865"/>
              <a:gd name="connsiteX15" fmla="*/ 363835 w 596000"/>
              <a:gd name="connsiteY15" fmla="*/ 99096 h 128865"/>
              <a:gd name="connsiteX16" fmla="*/ 303127 w 596000"/>
              <a:gd name="connsiteY16" fmla="*/ 64840 h 128865"/>
              <a:gd name="connsiteX17" fmla="*/ 363835 w 596000"/>
              <a:gd name="connsiteY17" fmla="*/ 30585 h 128865"/>
              <a:gd name="connsiteX18" fmla="*/ 424541 w 596000"/>
              <a:gd name="connsiteY18" fmla="*/ 64840 h 128865"/>
              <a:gd name="connsiteX19" fmla="*/ 363835 w 596000"/>
              <a:gd name="connsiteY19" fmla="*/ 99096 h 128865"/>
              <a:gd name="connsiteX20" fmla="*/ 580822 w 596000"/>
              <a:gd name="connsiteY20" fmla="*/ 2855 h 128865"/>
              <a:gd name="connsiteX21" fmla="*/ 565644 w 596000"/>
              <a:gd name="connsiteY21" fmla="*/ 17943 h 128865"/>
              <a:gd name="connsiteX22" fmla="*/ 565644 w 596000"/>
              <a:gd name="connsiteY22" fmla="*/ 68511 h 128865"/>
              <a:gd name="connsiteX23" fmla="*/ 483610 w 596000"/>
              <a:gd name="connsiteY23" fmla="*/ 3670 h 128865"/>
              <a:gd name="connsiteX24" fmla="*/ 476635 w 596000"/>
              <a:gd name="connsiteY24" fmla="*/ 6933 h 128865"/>
              <a:gd name="connsiteX25" fmla="*/ 476635 w 596000"/>
              <a:gd name="connsiteY25" fmla="*/ 110922 h 128865"/>
              <a:gd name="connsiteX26" fmla="*/ 491813 w 596000"/>
              <a:gd name="connsiteY26" fmla="*/ 126010 h 128865"/>
              <a:gd name="connsiteX27" fmla="*/ 506991 w 596000"/>
              <a:gd name="connsiteY27" fmla="*/ 110922 h 128865"/>
              <a:gd name="connsiteX28" fmla="*/ 506991 w 596000"/>
              <a:gd name="connsiteY28" fmla="*/ 60762 h 128865"/>
              <a:gd name="connsiteX29" fmla="*/ 589025 w 596000"/>
              <a:gd name="connsiteY29" fmla="*/ 125603 h 128865"/>
              <a:gd name="connsiteX30" fmla="*/ 596000 w 596000"/>
              <a:gd name="connsiteY30" fmla="*/ 122340 h 128865"/>
              <a:gd name="connsiteX31" fmla="*/ 596000 w 596000"/>
              <a:gd name="connsiteY31" fmla="*/ 17943 h 128865"/>
              <a:gd name="connsiteX32" fmla="*/ 580822 w 596000"/>
              <a:gd name="connsiteY32" fmla="*/ 2855 h 128865"/>
              <a:gd name="connsiteX33" fmla="*/ 248983 w 596000"/>
              <a:gd name="connsiteY33" fmla="*/ 96241 h 128865"/>
              <a:gd name="connsiteX34" fmla="*/ 197299 w 596000"/>
              <a:gd name="connsiteY34" fmla="*/ 96241 h 128865"/>
              <a:gd name="connsiteX35" fmla="*/ 262929 w 596000"/>
              <a:gd name="connsiteY35" fmla="*/ 9787 h 128865"/>
              <a:gd name="connsiteX36" fmla="*/ 259648 w 596000"/>
              <a:gd name="connsiteY36" fmla="*/ 2855 h 128865"/>
              <a:gd name="connsiteX37" fmla="*/ 164484 w 596000"/>
              <a:gd name="connsiteY37" fmla="*/ 2855 h 128865"/>
              <a:gd name="connsiteX38" fmla="*/ 149308 w 596000"/>
              <a:gd name="connsiteY38" fmla="*/ 17943 h 128865"/>
              <a:gd name="connsiteX39" fmla="*/ 164484 w 596000"/>
              <a:gd name="connsiteY39" fmla="*/ 33032 h 128865"/>
              <a:gd name="connsiteX40" fmla="*/ 207554 w 596000"/>
              <a:gd name="connsiteY40" fmla="*/ 33032 h 128865"/>
              <a:gd name="connsiteX41" fmla="*/ 141514 w 596000"/>
              <a:gd name="connsiteY41" fmla="*/ 119486 h 128865"/>
              <a:gd name="connsiteX42" fmla="*/ 145206 w 596000"/>
              <a:gd name="connsiteY42" fmla="*/ 126418 h 128865"/>
              <a:gd name="connsiteX43" fmla="*/ 248983 w 596000"/>
              <a:gd name="connsiteY43" fmla="*/ 126418 h 128865"/>
              <a:gd name="connsiteX44" fmla="*/ 264160 w 596000"/>
              <a:gd name="connsiteY44" fmla="*/ 111330 h 128865"/>
              <a:gd name="connsiteX45" fmla="*/ 248983 w 596000"/>
              <a:gd name="connsiteY45" fmla="*/ 96241 h 128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96000" h="128865">
                <a:moveTo>
                  <a:pt x="64809" y="0"/>
                </a:moveTo>
                <a:cubicBezTo>
                  <a:pt x="29123" y="0"/>
                  <a:pt x="0" y="28954"/>
                  <a:pt x="0" y="64433"/>
                </a:cubicBezTo>
                <a:cubicBezTo>
                  <a:pt x="0" y="99911"/>
                  <a:pt x="29123" y="128865"/>
                  <a:pt x="64809" y="128865"/>
                </a:cubicBezTo>
                <a:cubicBezTo>
                  <a:pt x="100906" y="128865"/>
                  <a:pt x="129619" y="99911"/>
                  <a:pt x="129619" y="64433"/>
                </a:cubicBezTo>
                <a:cubicBezTo>
                  <a:pt x="129619" y="28954"/>
                  <a:pt x="100906" y="0"/>
                  <a:pt x="64809" y="0"/>
                </a:cubicBezTo>
                <a:close/>
                <a:moveTo>
                  <a:pt x="64809" y="99096"/>
                </a:moveTo>
                <a:cubicBezTo>
                  <a:pt x="45531" y="99096"/>
                  <a:pt x="29944" y="83599"/>
                  <a:pt x="29944" y="64433"/>
                </a:cubicBezTo>
                <a:cubicBezTo>
                  <a:pt x="29944" y="45266"/>
                  <a:pt x="45531" y="29769"/>
                  <a:pt x="64809" y="29769"/>
                </a:cubicBezTo>
                <a:cubicBezTo>
                  <a:pt x="84088" y="29769"/>
                  <a:pt x="99675" y="45266"/>
                  <a:pt x="99675" y="64433"/>
                </a:cubicBezTo>
                <a:cubicBezTo>
                  <a:pt x="99675" y="83599"/>
                  <a:pt x="84088" y="99096"/>
                  <a:pt x="64809" y="99096"/>
                </a:cubicBezTo>
                <a:close/>
                <a:moveTo>
                  <a:pt x="363835" y="0"/>
                </a:moveTo>
                <a:cubicBezTo>
                  <a:pt x="313382" y="0"/>
                  <a:pt x="272774" y="28954"/>
                  <a:pt x="272774" y="64433"/>
                </a:cubicBezTo>
                <a:cubicBezTo>
                  <a:pt x="272774" y="99911"/>
                  <a:pt x="313382" y="128865"/>
                  <a:pt x="363835" y="128865"/>
                </a:cubicBezTo>
                <a:cubicBezTo>
                  <a:pt x="414288" y="128865"/>
                  <a:pt x="454897" y="99911"/>
                  <a:pt x="454897" y="64433"/>
                </a:cubicBezTo>
                <a:cubicBezTo>
                  <a:pt x="454897" y="28954"/>
                  <a:pt x="413878" y="0"/>
                  <a:pt x="363835" y="0"/>
                </a:cubicBezTo>
                <a:close/>
                <a:moveTo>
                  <a:pt x="363835" y="99096"/>
                </a:moveTo>
                <a:cubicBezTo>
                  <a:pt x="328969" y="99096"/>
                  <a:pt x="303127" y="80744"/>
                  <a:pt x="303127" y="64840"/>
                </a:cubicBezTo>
                <a:cubicBezTo>
                  <a:pt x="303127" y="48936"/>
                  <a:pt x="328969" y="30585"/>
                  <a:pt x="363835" y="30585"/>
                </a:cubicBezTo>
                <a:cubicBezTo>
                  <a:pt x="398701" y="30585"/>
                  <a:pt x="424541" y="48936"/>
                  <a:pt x="424541" y="64840"/>
                </a:cubicBezTo>
                <a:cubicBezTo>
                  <a:pt x="424541" y="80744"/>
                  <a:pt x="398290" y="99096"/>
                  <a:pt x="363835" y="99096"/>
                </a:cubicBezTo>
                <a:close/>
                <a:moveTo>
                  <a:pt x="580822" y="2855"/>
                </a:moveTo>
                <a:cubicBezTo>
                  <a:pt x="572619" y="2855"/>
                  <a:pt x="565644" y="9787"/>
                  <a:pt x="565644" y="17943"/>
                </a:cubicBezTo>
                <a:lnTo>
                  <a:pt x="565644" y="68511"/>
                </a:lnTo>
                <a:lnTo>
                  <a:pt x="483610" y="3670"/>
                </a:lnTo>
                <a:cubicBezTo>
                  <a:pt x="480738" y="1223"/>
                  <a:pt x="476635" y="3262"/>
                  <a:pt x="476635" y="6933"/>
                </a:cubicBezTo>
                <a:lnTo>
                  <a:pt x="476635" y="110922"/>
                </a:lnTo>
                <a:cubicBezTo>
                  <a:pt x="476635" y="119078"/>
                  <a:pt x="483610" y="126010"/>
                  <a:pt x="491813" y="126010"/>
                </a:cubicBezTo>
                <a:cubicBezTo>
                  <a:pt x="500016" y="126010"/>
                  <a:pt x="506991" y="119078"/>
                  <a:pt x="506991" y="110922"/>
                </a:cubicBezTo>
                <a:lnTo>
                  <a:pt x="506991" y="60762"/>
                </a:lnTo>
                <a:lnTo>
                  <a:pt x="589025" y="125603"/>
                </a:lnTo>
                <a:cubicBezTo>
                  <a:pt x="591897" y="128050"/>
                  <a:pt x="596000" y="126010"/>
                  <a:pt x="596000" y="122340"/>
                </a:cubicBezTo>
                <a:lnTo>
                  <a:pt x="596000" y="17943"/>
                </a:lnTo>
                <a:cubicBezTo>
                  <a:pt x="596000" y="9787"/>
                  <a:pt x="589025" y="2855"/>
                  <a:pt x="580822" y="2855"/>
                </a:cubicBezTo>
                <a:close/>
                <a:moveTo>
                  <a:pt x="248983" y="96241"/>
                </a:moveTo>
                <a:lnTo>
                  <a:pt x="197299" y="96241"/>
                </a:lnTo>
                <a:lnTo>
                  <a:pt x="262929" y="9787"/>
                </a:lnTo>
                <a:cubicBezTo>
                  <a:pt x="264980" y="6933"/>
                  <a:pt x="262929" y="2855"/>
                  <a:pt x="259648" y="2855"/>
                </a:cubicBezTo>
                <a:lnTo>
                  <a:pt x="164484" y="2855"/>
                </a:lnTo>
                <a:cubicBezTo>
                  <a:pt x="156281" y="2855"/>
                  <a:pt x="149308" y="9787"/>
                  <a:pt x="149308" y="17943"/>
                </a:cubicBezTo>
                <a:cubicBezTo>
                  <a:pt x="149308" y="26099"/>
                  <a:pt x="156281" y="33032"/>
                  <a:pt x="164484" y="33032"/>
                </a:cubicBezTo>
                <a:lnTo>
                  <a:pt x="207554" y="33032"/>
                </a:lnTo>
                <a:lnTo>
                  <a:pt x="141514" y="119486"/>
                </a:lnTo>
                <a:cubicBezTo>
                  <a:pt x="139463" y="122340"/>
                  <a:pt x="141514" y="126418"/>
                  <a:pt x="145206" y="126418"/>
                </a:cubicBezTo>
                <a:lnTo>
                  <a:pt x="248983" y="126418"/>
                </a:lnTo>
                <a:cubicBezTo>
                  <a:pt x="257186" y="126418"/>
                  <a:pt x="264160" y="119486"/>
                  <a:pt x="264160" y="111330"/>
                </a:cubicBezTo>
                <a:cubicBezTo>
                  <a:pt x="264160" y="103174"/>
                  <a:pt x="257186" y="96241"/>
                  <a:pt x="248983" y="96241"/>
                </a:cubicBezTo>
                <a:close/>
              </a:path>
            </a:pathLst>
          </a:custGeom>
          <a:solidFill>
            <a:schemeClr val="bg1"/>
          </a:solidFill>
          <a:ln w="399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8172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_titl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4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4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985CD6E-087D-7D18-E079-FFF35855D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49399" y="6465021"/>
            <a:ext cx="8182800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99" y="420493"/>
            <a:ext cx="10910888" cy="783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2000"/>
              </a:lnSpc>
              <a:defRPr sz="4400" spc="-30" baseline="0">
                <a:solidFill>
                  <a:schemeClr val="bg2"/>
                </a:solidFill>
              </a:defRPr>
            </a:lvl1pPr>
          </a:lstStyle>
          <a:p>
            <a:r>
              <a:rPr lang="ru-RU"/>
              <a:t>Заголовок слайда в 1 строку</a:t>
            </a:r>
          </a:p>
        </p:txBody>
      </p: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9FD9122D-7091-6BA2-07EA-163A1869AEA8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: скругленные верхние углы 8">
            <a:extLst>
              <a:ext uri="{FF2B5EF4-FFF2-40B4-BE49-F238E27FC236}">
                <a16:creationId xmlns:a16="http://schemas.microsoft.com/office/drawing/2014/main" id="{6D6F03CD-D114-F37B-E03D-2CA35E1A3592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10" name="Таблица 46">
            <a:extLst>
              <a:ext uri="{FF2B5EF4-FFF2-40B4-BE49-F238E27FC236}">
                <a16:creationId xmlns:a16="http://schemas.microsoft.com/office/drawing/2014/main" id="{B02E023D-DDB5-0937-D525-4B70C7E1552A}"/>
              </a:ext>
            </a:extLst>
          </p:cNvPr>
          <p:cNvGraphicFramePr>
            <a:graphicFrameLocks noGrp="1"/>
          </p:cNvGraphicFramePr>
          <p:nvPr/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5</a:t>
                      </a:r>
                      <a:r>
                        <a:rPr lang="ru-RU" sz="1200" b="1"/>
                        <a:t>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44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</a:t>
                      </a:r>
                      <a:r>
                        <a:rPr lang="en-US" sz="1200" b="1"/>
                        <a:t>8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8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4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2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2836D397-07DF-F44E-B241-E646372182BD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4BCD1CCE-0DCF-28D9-8B9F-AADB768AF282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12" name="Прямоугольник: скругленные углы 11">
              <a:extLst>
                <a:ext uri="{FF2B5EF4-FFF2-40B4-BE49-F238E27FC236}">
                  <a16:creationId xmlns:a16="http://schemas.microsoft.com/office/drawing/2014/main" id="{1601141B-7552-E452-C42D-D83FBDF0C386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9C953B3B-710F-60F4-95EE-83BCEB2E2120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C1778AB-794A-1FEE-E924-7212C304BD92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15" name="Прямоугольник: скругленные углы 14">
              <a:extLst>
                <a:ext uri="{FF2B5EF4-FFF2-40B4-BE49-F238E27FC236}">
                  <a16:creationId xmlns:a16="http://schemas.microsoft.com/office/drawing/2014/main" id="{F15C0F5C-F3A4-A4E7-1E94-A8B49E0C789D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9143BD1C-4850-CC8A-0752-BD02C2BC5F11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Прямоугольник: скругленные углы 16">
              <a:extLst>
                <a:ext uri="{FF2B5EF4-FFF2-40B4-BE49-F238E27FC236}">
                  <a16:creationId xmlns:a16="http://schemas.microsoft.com/office/drawing/2014/main" id="{8F1C3642-1C3F-BAC4-65BC-7922B787A511}"/>
                </a:ext>
              </a:extLst>
            </p:cNvPr>
            <p:cNvSpPr/>
            <p:nvPr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: скругленные углы 26">
              <a:extLst>
                <a:ext uri="{FF2B5EF4-FFF2-40B4-BE49-F238E27FC236}">
                  <a16:creationId xmlns:a16="http://schemas.microsoft.com/office/drawing/2014/main" id="{7450BCFA-5C36-8E65-C523-A4B3A94E480C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6FC55928-4C98-E75B-EDED-C2B9F34DEAFA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33" name="Прямоугольник: скругленные углы 32">
              <a:extLst>
                <a:ext uri="{FF2B5EF4-FFF2-40B4-BE49-F238E27FC236}">
                  <a16:creationId xmlns:a16="http://schemas.microsoft.com/office/drawing/2014/main" id="{04CD7C2C-AF7F-B9F1-5E08-258259900CB8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" name="Прямоугольник: скругленные углы 33">
              <a:extLst>
                <a:ext uri="{FF2B5EF4-FFF2-40B4-BE49-F238E27FC236}">
                  <a16:creationId xmlns:a16="http://schemas.microsoft.com/office/drawing/2014/main" id="{0CAF54B8-C71D-15C5-B835-EFC44A8FEFFC}"/>
                </a:ext>
              </a:extLst>
            </p:cNvPr>
            <p:cNvSpPr/>
            <p:nvPr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FB2ADF0-3C8A-B96C-6C71-6F34EA1D0423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36" name="Прямоугольник: скругленные углы 35">
              <a:extLst>
                <a:ext uri="{FF2B5EF4-FFF2-40B4-BE49-F238E27FC236}">
                  <a16:creationId xmlns:a16="http://schemas.microsoft.com/office/drawing/2014/main" id="{29C5A579-AD23-3A13-8547-D0A79363D8BB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9008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Прямоугольник: скругленные углы 36">
              <a:extLst>
                <a:ext uri="{FF2B5EF4-FFF2-40B4-BE49-F238E27FC236}">
                  <a16:creationId xmlns:a16="http://schemas.microsoft.com/office/drawing/2014/main" id="{51BE6CE7-30F3-0C38-17CC-34AD5F9A0274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Прямоугольник: скругленные углы 37">
              <a:extLst>
                <a:ext uri="{FF2B5EF4-FFF2-40B4-BE49-F238E27FC236}">
                  <a16:creationId xmlns:a16="http://schemas.microsoft.com/office/drawing/2014/main" id="{3EE0FA28-E437-5088-4587-B3310CF9114A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831A4954-7528-7A7A-D8B7-D85855F3838D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CAAB4F23-B6F6-BE86-72D5-75DCB4E91663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41" name="Прямоугольник: скругленные углы 40">
              <a:extLst>
                <a:ext uri="{FF2B5EF4-FFF2-40B4-BE49-F238E27FC236}">
                  <a16:creationId xmlns:a16="http://schemas.microsoft.com/office/drawing/2014/main" id="{E1AC14D7-9983-FD95-4CF5-0C45CC99CFC1}"/>
                </a:ext>
              </a:extLst>
            </p:cNvPr>
            <p:cNvSpPr/>
            <p:nvPr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DE66BA12-7BE1-65E4-ABBA-E3C361EBA7D0}"/>
                </a:ext>
              </a:extLst>
            </p:cNvPr>
            <p:cNvSpPr/>
            <p:nvPr userDrawn="1"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D445918-1580-EC44-D483-9AD2835F339A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44" name="Рисунок 93">
              <a:extLst>
                <a:ext uri="{FF2B5EF4-FFF2-40B4-BE49-F238E27FC236}">
                  <a16:creationId xmlns:a16="http://schemas.microsoft.com/office/drawing/2014/main" id="{54F3EF9D-23E0-C3CF-1920-18C0E2D7CA49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63E3BBEE-2E11-0366-66E5-3BF26675463C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48" name="Прямоугольник: скругленные углы 47">
              <a:extLst>
                <a:ext uri="{FF2B5EF4-FFF2-40B4-BE49-F238E27FC236}">
                  <a16:creationId xmlns:a16="http://schemas.microsoft.com/office/drawing/2014/main" id="{76FA02E2-326D-FD81-3B73-A05DDE1D4D71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F72FB05D-C0D4-5F92-54E7-9E5158DCD364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0" name="Прямоугольник: скругленные углы 49">
              <a:extLst>
                <a:ext uri="{FF2B5EF4-FFF2-40B4-BE49-F238E27FC236}">
                  <a16:creationId xmlns:a16="http://schemas.microsoft.com/office/drawing/2014/main" id="{D40D6FF8-C719-5B99-E078-F9CE05A236B3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3DB4C809-1195-88CA-2A75-08AA1F1CFF03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19" name="Номер слайда 5">
            <a:extLst>
              <a:ext uri="{FF2B5EF4-FFF2-40B4-BE49-F238E27FC236}">
                <a16:creationId xmlns:a16="http://schemas.microsoft.com/office/drawing/2014/main" id="{A29A8329-61B1-1D0C-F101-E5C427CD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Рисунок 1">
            <a:extLst>
              <a:ext uri="{FF2B5EF4-FFF2-40B4-BE49-F238E27FC236}">
                <a16:creationId xmlns:a16="http://schemas.microsoft.com/office/drawing/2014/main" id="{1118B9FB-E833-FA79-5889-04932CC9E03A}"/>
              </a:ext>
            </a:extLst>
          </p:cNvPr>
          <p:cNvSpPr/>
          <p:nvPr userDrawn="1"/>
        </p:nvSpPr>
        <p:spPr>
          <a:xfrm>
            <a:off x="640541" y="6472839"/>
            <a:ext cx="596000" cy="128865"/>
          </a:xfrm>
          <a:custGeom>
            <a:avLst/>
            <a:gdLst>
              <a:gd name="connsiteX0" fmla="*/ 64809 w 596000"/>
              <a:gd name="connsiteY0" fmla="*/ 0 h 128865"/>
              <a:gd name="connsiteX1" fmla="*/ 0 w 596000"/>
              <a:gd name="connsiteY1" fmla="*/ 64433 h 128865"/>
              <a:gd name="connsiteX2" fmla="*/ 64809 w 596000"/>
              <a:gd name="connsiteY2" fmla="*/ 128865 h 128865"/>
              <a:gd name="connsiteX3" fmla="*/ 129619 w 596000"/>
              <a:gd name="connsiteY3" fmla="*/ 64433 h 128865"/>
              <a:gd name="connsiteX4" fmla="*/ 64809 w 596000"/>
              <a:gd name="connsiteY4" fmla="*/ 0 h 128865"/>
              <a:gd name="connsiteX5" fmla="*/ 64809 w 596000"/>
              <a:gd name="connsiteY5" fmla="*/ 99096 h 128865"/>
              <a:gd name="connsiteX6" fmla="*/ 29944 w 596000"/>
              <a:gd name="connsiteY6" fmla="*/ 64433 h 128865"/>
              <a:gd name="connsiteX7" fmla="*/ 64809 w 596000"/>
              <a:gd name="connsiteY7" fmla="*/ 29769 h 128865"/>
              <a:gd name="connsiteX8" fmla="*/ 99675 w 596000"/>
              <a:gd name="connsiteY8" fmla="*/ 64433 h 128865"/>
              <a:gd name="connsiteX9" fmla="*/ 64809 w 596000"/>
              <a:gd name="connsiteY9" fmla="*/ 99096 h 128865"/>
              <a:gd name="connsiteX10" fmla="*/ 363835 w 596000"/>
              <a:gd name="connsiteY10" fmla="*/ 0 h 128865"/>
              <a:gd name="connsiteX11" fmla="*/ 272774 w 596000"/>
              <a:gd name="connsiteY11" fmla="*/ 64433 h 128865"/>
              <a:gd name="connsiteX12" fmla="*/ 363835 w 596000"/>
              <a:gd name="connsiteY12" fmla="*/ 128865 h 128865"/>
              <a:gd name="connsiteX13" fmla="*/ 454897 w 596000"/>
              <a:gd name="connsiteY13" fmla="*/ 64433 h 128865"/>
              <a:gd name="connsiteX14" fmla="*/ 363835 w 596000"/>
              <a:gd name="connsiteY14" fmla="*/ 0 h 128865"/>
              <a:gd name="connsiteX15" fmla="*/ 363835 w 596000"/>
              <a:gd name="connsiteY15" fmla="*/ 99096 h 128865"/>
              <a:gd name="connsiteX16" fmla="*/ 303127 w 596000"/>
              <a:gd name="connsiteY16" fmla="*/ 64840 h 128865"/>
              <a:gd name="connsiteX17" fmla="*/ 363835 w 596000"/>
              <a:gd name="connsiteY17" fmla="*/ 30585 h 128865"/>
              <a:gd name="connsiteX18" fmla="*/ 424541 w 596000"/>
              <a:gd name="connsiteY18" fmla="*/ 64840 h 128865"/>
              <a:gd name="connsiteX19" fmla="*/ 363835 w 596000"/>
              <a:gd name="connsiteY19" fmla="*/ 99096 h 128865"/>
              <a:gd name="connsiteX20" fmla="*/ 580822 w 596000"/>
              <a:gd name="connsiteY20" fmla="*/ 2855 h 128865"/>
              <a:gd name="connsiteX21" fmla="*/ 565644 w 596000"/>
              <a:gd name="connsiteY21" fmla="*/ 17943 h 128865"/>
              <a:gd name="connsiteX22" fmla="*/ 565644 w 596000"/>
              <a:gd name="connsiteY22" fmla="*/ 68511 h 128865"/>
              <a:gd name="connsiteX23" fmla="*/ 483610 w 596000"/>
              <a:gd name="connsiteY23" fmla="*/ 3670 h 128865"/>
              <a:gd name="connsiteX24" fmla="*/ 476635 w 596000"/>
              <a:gd name="connsiteY24" fmla="*/ 6933 h 128865"/>
              <a:gd name="connsiteX25" fmla="*/ 476635 w 596000"/>
              <a:gd name="connsiteY25" fmla="*/ 110922 h 128865"/>
              <a:gd name="connsiteX26" fmla="*/ 491813 w 596000"/>
              <a:gd name="connsiteY26" fmla="*/ 126010 h 128865"/>
              <a:gd name="connsiteX27" fmla="*/ 506991 w 596000"/>
              <a:gd name="connsiteY27" fmla="*/ 110922 h 128865"/>
              <a:gd name="connsiteX28" fmla="*/ 506991 w 596000"/>
              <a:gd name="connsiteY28" fmla="*/ 60762 h 128865"/>
              <a:gd name="connsiteX29" fmla="*/ 589025 w 596000"/>
              <a:gd name="connsiteY29" fmla="*/ 125603 h 128865"/>
              <a:gd name="connsiteX30" fmla="*/ 596000 w 596000"/>
              <a:gd name="connsiteY30" fmla="*/ 122340 h 128865"/>
              <a:gd name="connsiteX31" fmla="*/ 596000 w 596000"/>
              <a:gd name="connsiteY31" fmla="*/ 17943 h 128865"/>
              <a:gd name="connsiteX32" fmla="*/ 580822 w 596000"/>
              <a:gd name="connsiteY32" fmla="*/ 2855 h 128865"/>
              <a:gd name="connsiteX33" fmla="*/ 248983 w 596000"/>
              <a:gd name="connsiteY33" fmla="*/ 96241 h 128865"/>
              <a:gd name="connsiteX34" fmla="*/ 197299 w 596000"/>
              <a:gd name="connsiteY34" fmla="*/ 96241 h 128865"/>
              <a:gd name="connsiteX35" fmla="*/ 262929 w 596000"/>
              <a:gd name="connsiteY35" fmla="*/ 9787 h 128865"/>
              <a:gd name="connsiteX36" fmla="*/ 259648 w 596000"/>
              <a:gd name="connsiteY36" fmla="*/ 2855 h 128865"/>
              <a:gd name="connsiteX37" fmla="*/ 164484 w 596000"/>
              <a:gd name="connsiteY37" fmla="*/ 2855 h 128865"/>
              <a:gd name="connsiteX38" fmla="*/ 149308 w 596000"/>
              <a:gd name="connsiteY38" fmla="*/ 17943 h 128865"/>
              <a:gd name="connsiteX39" fmla="*/ 164484 w 596000"/>
              <a:gd name="connsiteY39" fmla="*/ 33032 h 128865"/>
              <a:gd name="connsiteX40" fmla="*/ 207554 w 596000"/>
              <a:gd name="connsiteY40" fmla="*/ 33032 h 128865"/>
              <a:gd name="connsiteX41" fmla="*/ 141514 w 596000"/>
              <a:gd name="connsiteY41" fmla="*/ 119486 h 128865"/>
              <a:gd name="connsiteX42" fmla="*/ 145206 w 596000"/>
              <a:gd name="connsiteY42" fmla="*/ 126418 h 128865"/>
              <a:gd name="connsiteX43" fmla="*/ 248983 w 596000"/>
              <a:gd name="connsiteY43" fmla="*/ 126418 h 128865"/>
              <a:gd name="connsiteX44" fmla="*/ 264160 w 596000"/>
              <a:gd name="connsiteY44" fmla="*/ 111330 h 128865"/>
              <a:gd name="connsiteX45" fmla="*/ 248983 w 596000"/>
              <a:gd name="connsiteY45" fmla="*/ 96241 h 128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96000" h="128865">
                <a:moveTo>
                  <a:pt x="64809" y="0"/>
                </a:moveTo>
                <a:cubicBezTo>
                  <a:pt x="29123" y="0"/>
                  <a:pt x="0" y="28954"/>
                  <a:pt x="0" y="64433"/>
                </a:cubicBezTo>
                <a:cubicBezTo>
                  <a:pt x="0" y="99911"/>
                  <a:pt x="29123" y="128865"/>
                  <a:pt x="64809" y="128865"/>
                </a:cubicBezTo>
                <a:cubicBezTo>
                  <a:pt x="100906" y="128865"/>
                  <a:pt x="129619" y="99911"/>
                  <a:pt x="129619" y="64433"/>
                </a:cubicBezTo>
                <a:cubicBezTo>
                  <a:pt x="129619" y="28954"/>
                  <a:pt x="100906" y="0"/>
                  <a:pt x="64809" y="0"/>
                </a:cubicBezTo>
                <a:close/>
                <a:moveTo>
                  <a:pt x="64809" y="99096"/>
                </a:moveTo>
                <a:cubicBezTo>
                  <a:pt x="45531" y="99096"/>
                  <a:pt x="29944" y="83599"/>
                  <a:pt x="29944" y="64433"/>
                </a:cubicBezTo>
                <a:cubicBezTo>
                  <a:pt x="29944" y="45266"/>
                  <a:pt x="45531" y="29769"/>
                  <a:pt x="64809" y="29769"/>
                </a:cubicBezTo>
                <a:cubicBezTo>
                  <a:pt x="84088" y="29769"/>
                  <a:pt x="99675" y="45266"/>
                  <a:pt x="99675" y="64433"/>
                </a:cubicBezTo>
                <a:cubicBezTo>
                  <a:pt x="99675" y="83599"/>
                  <a:pt x="84088" y="99096"/>
                  <a:pt x="64809" y="99096"/>
                </a:cubicBezTo>
                <a:close/>
                <a:moveTo>
                  <a:pt x="363835" y="0"/>
                </a:moveTo>
                <a:cubicBezTo>
                  <a:pt x="313382" y="0"/>
                  <a:pt x="272774" y="28954"/>
                  <a:pt x="272774" y="64433"/>
                </a:cubicBezTo>
                <a:cubicBezTo>
                  <a:pt x="272774" y="99911"/>
                  <a:pt x="313382" y="128865"/>
                  <a:pt x="363835" y="128865"/>
                </a:cubicBezTo>
                <a:cubicBezTo>
                  <a:pt x="414288" y="128865"/>
                  <a:pt x="454897" y="99911"/>
                  <a:pt x="454897" y="64433"/>
                </a:cubicBezTo>
                <a:cubicBezTo>
                  <a:pt x="454897" y="28954"/>
                  <a:pt x="413878" y="0"/>
                  <a:pt x="363835" y="0"/>
                </a:cubicBezTo>
                <a:close/>
                <a:moveTo>
                  <a:pt x="363835" y="99096"/>
                </a:moveTo>
                <a:cubicBezTo>
                  <a:pt x="328969" y="99096"/>
                  <a:pt x="303127" y="80744"/>
                  <a:pt x="303127" y="64840"/>
                </a:cubicBezTo>
                <a:cubicBezTo>
                  <a:pt x="303127" y="48936"/>
                  <a:pt x="328969" y="30585"/>
                  <a:pt x="363835" y="30585"/>
                </a:cubicBezTo>
                <a:cubicBezTo>
                  <a:pt x="398701" y="30585"/>
                  <a:pt x="424541" y="48936"/>
                  <a:pt x="424541" y="64840"/>
                </a:cubicBezTo>
                <a:cubicBezTo>
                  <a:pt x="424541" y="80744"/>
                  <a:pt x="398290" y="99096"/>
                  <a:pt x="363835" y="99096"/>
                </a:cubicBezTo>
                <a:close/>
                <a:moveTo>
                  <a:pt x="580822" y="2855"/>
                </a:moveTo>
                <a:cubicBezTo>
                  <a:pt x="572619" y="2855"/>
                  <a:pt x="565644" y="9787"/>
                  <a:pt x="565644" y="17943"/>
                </a:cubicBezTo>
                <a:lnTo>
                  <a:pt x="565644" y="68511"/>
                </a:lnTo>
                <a:lnTo>
                  <a:pt x="483610" y="3670"/>
                </a:lnTo>
                <a:cubicBezTo>
                  <a:pt x="480738" y="1223"/>
                  <a:pt x="476635" y="3262"/>
                  <a:pt x="476635" y="6933"/>
                </a:cubicBezTo>
                <a:lnTo>
                  <a:pt x="476635" y="110922"/>
                </a:lnTo>
                <a:cubicBezTo>
                  <a:pt x="476635" y="119078"/>
                  <a:pt x="483610" y="126010"/>
                  <a:pt x="491813" y="126010"/>
                </a:cubicBezTo>
                <a:cubicBezTo>
                  <a:pt x="500016" y="126010"/>
                  <a:pt x="506991" y="119078"/>
                  <a:pt x="506991" y="110922"/>
                </a:cubicBezTo>
                <a:lnTo>
                  <a:pt x="506991" y="60762"/>
                </a:lnTo>
                <a:lnTo>
                  <a:pt x="589025" y="125603"/>
                </a:lnTo>
                <a:cubicBezTo>
                  <a:pt x="591897" y="128050"/>
                  <a:pt x="596000" y="126010"/>
                  <a:pt x="596000" y="122340"/>
                </a:cubicBezTo>
                <a:lnTo>
                  <a:pt x="596000" y="17943"/>
                </a:lnTo>
                <a:cubicBezTo>
                  <a:pt x="596000" y="9787"/>
                  <a:pt x="589025" y="2855"/>
                  <a:pt x="580822" y="2855"/>
                </a:cubicBezTo>
                <a:close/>
                <a:moveTo>
                  <a:pt x="248983" y="96241"/>
                </a:moveTo>
                <a:lnTo>
                  <a:pt x="197299" y="96241"/>
                </a:lnTo>
                <a:lnTo>
                  <a:pt x="262929" y="9787"/>
                </a:lnTo>
                <a:cubicBezTo>
                  <a:pt x="264980" y="6933"/>
                  <a:pt x="262929" y="2855"/>
                  <a:pt x="259648" y="2855"/>
                </a:cubicBezTo>
                <a:lnTo>
                  <a:pt x="164484" y="2855"/>
                </a:lnTo>
                <a:cubicBezTo>
                  <a:pt x="156281" y="2855"/>
                  <a:pt x="149308" y="9787"/>
                  <a:pt x="149308" y="17943"/>
                </a:cubicBezTo>
                <a:cubicBezTo>
                  <a:pt x="149308" y="26099"/>
                  <a:pt x="156281" y="33032"/>
                  <a:pt x="164484" y="33032"/>
                </a:cubicBezTo>
                <a:lnTo>
                  <a:pt x="207554" y="33032"/>
                </a:lnTo>
                <a:lnTo>
                  <a:pt x="141514" y="119486"/>
                </a:lnTo>
                <a:cubicBezTo>
                  <a:pt x="139463" y="122340"/>
                  <a:pt x="141514" y="126418"/>
                  <a:pt x="145206" y="126418"/>
                </a:cubicBezTo>
                <a:lnTo>
                  <a:pt x="248983" y="126418"/>
                </a:lnTo>
                <a:cubicBezTo>
                  <a:pt x="257186" y="126418"/>
                  <a:pt x="264160" y="119486"/>
                  <a:pt x="264160" y="111330"/>
                </a:cubicBezTo>
                <a:cubicBezTo>
                  <a:pt x="264160" y="103174"/>
                  <a:pt x="257186" y="96241"/>
                  <a:pt x="248983" y="96241"/>
                </a:cubicBezTo>
                <a:close/>
              </a:path>
            </a:pathLst>
          </a:custGeom>
          <a:solidFill>
            <a:schemeClr val="bg1"/>
          </a:solidFill>
          <a:ln w="399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444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8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Прямоугольник: скругленные углы 59">
            <a:extLst>
              <a:ext uri="{FF2B5EF4-FFF2-40B4-BE49-F238E27FC236}">
                <a16:creationId xmlns:a16="http://schemas.microsoft.com/office/drawing/2014/main" id="{6AF4706E-194B-0A30-2718-34E7D7319965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Прямоугольник: скругленные верхние углы 60">
            <a:extLst>
              <a:ext uri="{FF2B5EF4-FFF2-40B4-BE49-F238E27FC236}">
                <a16:creationId xmlns:a16="http://schemas.microsoft.com/office/drawing/2014/main" id="{66C04289-EBA6-A8EA-BE9E-D91E549D654E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67" name="Таблица 46">
            <a:extLst>
              <a:ext uri="{FF2B5EF4-FFF2-40B4-BE49-F238E27FC236}">
                <a16:creationId xmlns:a16="http://schemas.microsoft.com/office/drawing/2014/main" id="{EED75387-9477-C69D-3BA3-66D18A09F0E1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68" name="Полилиния: фигура 67">
            <a:extLst>
              <a:ext uri="{FF2B5EF4-FFF2-40B4-BE49-F238E27FC236}">
                <a16:creationId xmlns:a16="http://schemas.microsoft.com/office/drawing/2014/main" id="{E22991C0-E32F-2F6E-12D2-4EC3D4112A7E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200C313C-7F35-191B-9168-05615B5FAE59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69" name="Прямоугольник: скругленные углы 68">
              <a:extLst>
                <a:ext uri="{FF2B5EF4-FFF2-40B4-BE49-F238E27FC236}">
                  <a16:creationId xmlns:a16="http://schemas.microsoft.com/office/drawing/2014/main" id="{1139CD9A-C603-ED8E-7116-7FB44FB69922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Прямоугольник: скругленные верхние углы 69">
              <a:extLst>
                <a:ext uri="{FF2B5EF4-FFF2-40B4-BE49-F238E27FC236}">
                  <a16:creationId xmlns:a16="http://schemas.microsoft.com/office/drawing/2014/main" id="{2EA1A961-2B57-A0E2-6F9D-F6720D633319}"/>
                </a:ext>
              </a:extLst>
            </p:cNvPr>
            <p:cNvSpPr/>
            <p:nvPr userDrawn="1"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4F0D33E1-157E-5C1C-3B20-313E07C46127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72" name="Прямоугольник: скругленные углы 71">
              <a:extLst>
                <a:ext uri="{FF2B5EF4-FFF2-40B4-BE49-F238E27FC236}">
                  <a16:creationId xmlns:a16="http://schemas.microsoft.com/office/drawing/2014/main" id="{6DC298D9-101F-C359-AE2B-EC47E4CC0AD4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3" name="Прямоугольник: скругленные углы 72">
              <a:extLst>
                <a:ext uri="{FF2B5EF4-FFF2-40B4-BE49-F238E27FC236}">
                  <a16:creationId xmlns:a16="http://schemas.microsoft.com/office/drawing/2014/main" id="{E3B2CF0F-A99E-EC35-4034-EF6CBFAA8BAA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4" name="Прямоугольник: скругленные углы 73">
              <a:extLst>
                <a:ext uri="{FF2B5EF4-FFF2-40B4-BE49-F238E27FC236}">
                  <a16:creationId xmlns:a16="http://schemas.microsoft.com/office/drawing/2014/main" id="{EBE11FE5-AC07-EA42-D119-4E50AD1CF2DE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Прямоугольник: скругленные углы 74">
              <a:extLst>
                <a:ext uri="{FF2B5EF4-FFF2-40B4-BE49-F238E27FC236}">
                  <a16:creationId xmlns:a16="http://schemas.microsoft.com/office/drawing/2014/main" id="{B9E433AD-4741-6400-8A0D-96F9DCEAFCFC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6443CE6A-AC08-7969-B269-8265F1D179B6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77" name="Прямоугольник: скругленные углы 76">
              <a:extLst>
                <a:ext uri="{FF2B5EF4-FFF2-40B4-BE49-F238E27FC236}">
                  <a16:creationId xmlns:a16="http://schemas.microsoft.com/office/drawing/2014/main" id="{81D17F5C-7922-FA2F-68A7-CC37F1467F40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" name="Прямоугольник: скругленные углы 77">
              <a:extLst>
                <a:ext uri="{FF2B5EF4-FFF2-40B4-BE49-F238E27FC236}">
                  <a16:creationId xmlns:a16="http://schemas.microsoft.com/office/drawing/2014/main" id="{811D1D28-C2AB-D36C-46E3-656C8A28C656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9D2B800C-C780-8509-41F4-88C9C0C6CC12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80" name="Прямоугольник: скругленные углы 79">
              <a:extLst>
                <a:ext uri="{FF2B5EF4-FFF2-40B4-BE49-F238E27FC236}">
                  <a16:creationId xmlns:a16="http://schemas.microsoft.com/office/drawing/2014/main" id="{B691919D-675F-68D2-9D8D-B4F083FE475C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9008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: скругленные углы 80">
              <a:extLst>
                <a:ext uri="{FF2B5EF4-FFF2-40B4-BE49-F238E27FC236}">
                  <a16:creationId xmlns:a16="http://schemas.microsoft.com/office/drawing/2014/main" id="{A7977A39-9764-1C17-7C10-5DC391817E42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2" name="Прямоугольник: скругленные углы 81">
              <a:extLst>
                <a:ext uri="{FF2B5EF4-FFF2-40B4-BE49-F238E27FC236}">
                  <a16:creationId xmlns:a16="http://schemas.microsoft.com/office/drawing/2014/main" id="{271E263C-80EE-A0CF-5429-212BDDDF8E79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3" name="Прямоугольник: скругленные углы 82">
              <a:extLst>
                <a:ext uri="{FF2B5EF4-FFF2-40B4-BE49-F238E27FC236}">
                  <a16:creationId xmlns:a16="http://schemas.microsoft.com/office/drawing/2014/main" id="{27EFCF9E-BF66-27C1-4F9E-4797151B7824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3190431C-4FD4-8EF7-7515-0F6EF21AA752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85" name="Прямоугольник: скругленные углы 84">
              <a:extLst>
                <a:ext uri="{FF2B5EF4-FFF2-40B4-BE49-F238E27FC236}">
                  <a16:creationId xmlns:a16="http://schemas.microsoft.com/office/drawing/2014/main" id="{EF1E6EEB-9FA4-6EA8-4960-C3A7046A712D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Прямоугольник: скругленные углы 85">
              <a:extLst>
                <a:ext uri="{FF2B5EF4-FFF2-40B4-BE49-F238E27FC236}">
                  <a16:creationId xmlns:a16="http://schemas.microsoft.com/office/drawing/2014/main" id="{07E32F49-2F67-D854-AD31-65F4AAB76A9A}"/>
                </a:ext>
              </a:extLst>
            </p:cNvPr>
            <p:cNvSpPr/>
            <p:nvPr userDrawn="1"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DD45BB01-1561-A4DF-6EE5-24B215256ADF}"/>
                </a:ext>
              </a:extLst>
            </p:cNvPr>
            <p:cNvSpPr txBox="1"/>
            <p:nvPr userDrawn="1"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88" name="Рисунок 93">
              <a:extLst>
                <a:ext uri="{FF2B5EF4-FFF2-40B4-BE49-F238E27FC236}">
                  <a16:creationId xmlns:a16="http://schemas.microsoft.com/office/drawing/2014/main" id="{00694124-F903-0C77-72AB-C8C70724726A}"/>
                </a:ext>
              </a:extLst>
            </p:cNvPr>
            <p:cNvSpPr/>
            <p:nvPr userDrawn="1"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C9B0B376-ECF5-A150-A2FB-0E21E36AFDAD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90" name="Прямоугольник: скругленные углы 89">
              <a:extLst>
                <a:ext uri="{FF2B5EF4-FFF2-40B4-BE49-F238E27FC236}">
                  <a16:creationId xmlns:a16="http://schemas.microsoft.com/office/drawing/2014/main" id="{B8F5C4DB-B6F9-0610-8B4C-D366136B7430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1" name="Прямоугольник: скругленные углы 90">
              <a:extLst>
                <a:ext uri="{FF2B5EF4-FFF2-40B4-BE49-F238E27FC236}">
                  <a16:creationId xmlns:a16="http://schemas.microsoft.com/office/drawing/2014/main" id="{3DF6CD54-2CBA-060E-659B-A3C76776A459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2" name="Прямоугольник: скругленные углы 91">
              <a:extLst>
                <a:ext uri="{FF2B5EF4-FFF2-40B4-BE49-F238E27FC236}">
                  <a16:creationId xmlns:a16="http://schemas.microsoft.com/office/drawing/2014/main" id="{003D82E5-8243-3C72-95D6-28607F7704B3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93" name="TextBox 92">
            <a:extLst>
              <a:ext uri="{FF2B5EF4-FFF2-40B4-BE49-F238E27FC236}">
                <a16:creationId xmlns:a16="http://schemas.microsoft.com/office/drawing/2014/main" id="{080FC503-198C-9BAB-F771-B9545D4FF161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2763050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inal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5">
            <a:extLst>
              <a:ext uri="{FF2B5EF4-FFF2-40B4-BE49-F238E27FC236}">
                <a16:creationId xmlns:a16="http://schemas.microsoft.com/office/drawing/2014/main" id="{197A927F-73D8-A013-C06F-BEBBE8391F30}"/>
              </a:ext>
            </a:extLst>
          </p:cNvPr>
          <p:cNvSpPr/>
          <p:nvPr/>
        </p:nvSpPr>
        <p:spPr>
          <a:xfrm>
            <a:off x="639763" y="411162"/>
            <a:ext cx="10910888" cy="5851526"/>
          </a:xfrm>
          <a:custGeom>
            <a:avLst/>
            <a:gdLst>
              <a:gd name="connsiteX0" fmla="*/ 4777550 w 4777549"/>
              <a:gd name="connsiteY0" fmla="*/ 196977 h 2553938"/>
              <a:gd name="connsiteX1" fmla="*/ 4777550 w 4777549"/>
              <a:gd name="connsiteY1" fmla="*/ 1926527 h 2553938"/>
              <a:gd name="connsiteX2" fmla="*/ 4610196 w 4777549"/>
              <a:gd name="connsiteY2" fmla="*/ 2115598 h 2553938"/>
              <a:gd name="connsiteX3" fmla="*/ 2666238 w 4777549"/>
              <a:gd name="connsiteY3" fmla="*/ 2115598 h 2553938"/>
              <a:gd name="connsiteX4" fmla="*/ 2481548 w 4777549"/>
              <a:gd name="connsiteY4" fmla="*/ 2192084 h 2553938"/>
              <a:gd name="connsiteX5" fmla="*/ 2181130 w 4777549"/>
              <a:gd name="connsiteY5" fmla="*/ 2492502 h 2553938"/>
              <a:gd name="connsiteX6" fmla="*/ 2032921 w 4777549"/>
              <a:gd name="connsiteY6" fmla="*/ 2553938 h 2553938"/>
              <a:gd name="connsiteX7" fmla="*/ 196977 w 4777549"/>
              <a:gd name="connsiteY7" fmla="*/ 2553938 h 2553938"/>
              <a:gd name="connsiteX8" fmla="*/ 0 w 4777549"/>
              <a:gd name="connsiteY8" fmla="*/ 2356961 h 2553938"/>
              <a:gd name="connsiteX9" fmla="*/ 0 w 4777549"/>
              <a:gd name="connsiteY9" fmla="*/ 196977 h 2553938"/>
              <a:gd name="connsiteX10" fmla="*/ 196977 w 4777549"/>
              <a:gd name="connsiteY10" fmla="*/ 0 h 2553938"/>
              <a:gd name="connsiteX11" fmla="*/ 4580573 w 4777549"/>
              <a:gd name="connsiteY11" fmla="*/ 0 h 2553938"/>
              <a:gd name="connsiteX12" fmla="*/ 4777550 w 4777549"/>
              <a:gd name="connsiteY12" fmla="*/ 196977 h 2553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777549" h="2553938">
                <a:moveTo>
                  <a:pt x="4777550" y="196977"/>
                </a:moveTo>
                <a:lnTo>
                  <a:pt x="4777550" y="1926527"/>
                </a:lnTo>
                <a:cubicBezTo>
                  <a:pt x="4777550" y="2023967"/>
                  <a:pt x="4704493" y="2104263"/>
                  <a:pt x="4610196" y="2115598"/>
                </a:cubicBezTo>
                <a:lnTo>
                  <a:pt x="2666238" y="2115598"/>
                </a:lnTo>
                <a:cubicBezTo>
                  <a:pt x="2596991" y="2115598"/>
                  <a:pt x="2530602" y="2143125"/>
                  <a:pt x="2481548" y="2192084"/>
                </a:cubicBezTo>
                <a:lnTo>
                  <a:pt x="2181130" y="2492502"/>
                </a:lnTo>
                <a:cubicBezTo>
                  <a:pt x="2141792" y="2531840"/>
                  <a:pt x="2088452" y="2553938"/>
                  <a:pt x="2032921" y="2553938"/>
                </a:cubicBezTo>
                <a:lnTo>
                  <a:pt x="196977" y="2553938"/>
                </a:lnTo>
                <a:cubicBezTo>
                  <a:pt x="88202" y="2553938"/>
                  <a:pt x="0" y="2465737"/>
                  <a:pt x="0" y="2356961"/>
                </a:cubicBezTo>
                <a:lnTo>
                  <a:pt x="0" y="196977"/>
                </a:lnTo>
                <a:cubicBezTo>
                  <a:pt x="0" y="88202"/>
                  <a:pt x="88202" y="0"/>
                  <a:pt x="196977" y="0"/>
                </a:cubicBezTo>
                <a:lnTo>
                  <a:pt x="4580573" y="0"/>
                </a:lnTo>
                <a:cubicBezTo>
                  <a:pt x="4689348" y="0"/>
                  <a:pt x="4777550" y="88202"/>
                  <a:pt x="4777550" y="196977"/>
                </a:cubicBezTo>
                <a:close/>
              </a:path>
            </a:pathLst>
          </a:custGeom>
          <a:gradFill>
            <a:gsLst>
              <a:gs pos="15000">
                <a:schemeClr val="accent1"/>
              </a:gs>
              <a:gs pos="85000">
                <a:schemeClr val="accent3"/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endParaRPr lang="ru-RU" sz="1400">
              <a:solidFill>
                <a:schemeClr val="lt1"/>
              </a:solidFill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2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E1F914-6E31-3D8A-0729-94C84B17961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55808" y="1931435"/>
            <a:ext cx="6340418" cy="2123348"/>
          </a:xfrm>
        </p:spPr>
        <p:txBody>
          <a:bodyPr vert="horz" anchor="b">
            <a:noAutofit/>
          </a:bodyPr>
          <a:lstStyle>
            <a:lvl1pPr algn="l">
              <a:lnSpc>
                <a:spcPct val="87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ru-RU"/>
              <a:t>Напиши призыв </a:t>
            </a:r>
            <a:br>
              <a:rPr lang="ru-RU"/>
            </a:br>
            <a:r>
              <a:rPr lang="ru-RU"/>
              <a:t>к действию</a:t>
            </a:r>
            <a:r>
              <a:rPr lang="en-US"/>
              <a:t> </a:t>
            </a:r>
            <a:r>
              <a:rPr lang="ru-RU"/>
              <a:t>в 2–3 строки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5194112"/>
            <a:ext cx="3867020" cy="590868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Имя и фамилия спикера, контакты </a:t>
            </a:r>
            <a:br>
              <a:rPr lang="ru-RU"/>
            </a:br>
            <a:r>
              <a:rPr lang="ru-RU"/>
              <a:t>или другая информация</a:t>
            </a:r>
          </a:p>
        </p:txBody>
      </p:sp>
      <p:sp>
        <p:nvSpPr>
          <p:cNvPr id="12" name="Рисунок 7">
            <a:extLst>
              <a:ext uri="{FF2B5EF4-FFF2-40B4-BE49-F238E27FC236}">
                <a16:creationId xmlns:a16="http://schemas.microsoft.com/office/drawing/2014/main" id="{8082470F-B02E-5F25-DB85-57374A194EE6}"/>
              </a:ext>
            </a:extLst>
          </p:cNvPr>
          <p:cNvSpPr/>
          <p:nvPr/>
        </p:nvSpPr>
        <p:spPr>
          <a:xfrm>
            <a:off x="1541812" y="1009909"/>
            <a:ext cx="1165502" cy="252000"/>
          </a:xfrm>
          <a:custGeom>
            <a:avLst/>
            <a:gdLst>
              <a:gd name="connsiteX0" fmla="*/ 126737 w 1165502"/>
              <a:gd name="connsiteY0" fmla="*/ 0 h 252000"/>
              <a:gd name="connsiteX1" fmla="*/ 0 w 1165502"/>
              <a:gd name="connsiteY1" fmla="*/ 126000 h 252000"/>
              <a:gd name="connsiteX2" fmla="*/ 126737 w 1165502"/>
              <a:gd name="connsiteY2" fmla="*/ 252000 h 252000"/>
              <a:gd name="connsiteX3" fmla="*/ 253475 w 1165502"/>
              <a:gd name="connsiteY3" fmla="*/ 126000 h 252000"/>
              <a:gd name="connsiteX4" fmla="*/ 126737 w 1165502"/>
              <a:gd name="connsiteY4" fmla="*/ 0 h 252000"/>
              <a:gd name="connsiteX5" fmla="*/ 126737 w 1165502"/>
              <a:gd name="connsiteY5" fmla="*/ 193785 h 252000"/>
              <a:gd name="connsiteX6" fmla="*/ 58556 w 1165502"/>
              <a:gd name="connsiteY6" fmla="*/ 126000 h 252000"/>
              <a:gd name="connsiteX7" fmla="*/ 126737 w 1165502"/>
              <a:gd name="connsiteY7" fmla="*/ 58215 h 252000"/>
              <a:gd name="connsiteX8" fmla="*/ 194918 w 1165502"/>
              <a:gd name="connsiteY8" fmla="*/ 126000 h 252000"/>
              <a:gd name="connsiteX9" fmla="*/ 126737 w 1165502"/>
              <a:gd name="connsiteY9" fmla="*/ 193785 h 252000"/>
              <a:gd name="connsiteX10" fmla="*/ 711493 w 1165502"/>
              <a:gd name="connsiteY10" fmla="*/ 0 h 252000"/>
              <a:gd name="connsiteX11" fmla="*/ 533420 w 1165502"/>
              <a:gd name="connsiteY11" fmla="*/ 126000 h 252000"/>
              <a:gd name="connsiteX12" fmla="*/ 711493 w 1165502"/>
              <a:gd name="connsiteY12" fmla="*/ 252000 h 252000"/>
              <a:gd name="connsiteX13" fmla="*/ 889569 w 1165502"/>
              <a:gd name="connsiteY13" fmla="*/ 126000 h 252000"/>
              <a:gd name="connsiteX14" fmla="*/ 711493 w 1165502"/>
              <a:gd name="connsiteY14" fmla="*/ 0 h 252000"/>
              <a:gd name="connsiteX15" fmla="*/ 711493 w 1165502"/>
              <a:gd name="connsiteY15" fmla="*/ 193785 h 252000"/>
              <a:gd name="connsiteX16" fmla="*/ 592778 w 1165502"/>
              <a:gd name="connsiteY16" fmla="*/ 126798 h 252000"/>
              <a:gd name="connsiteX17" fmla="*/ 711493 w 1165502"/>
              <a:gd name="connsiteY17" fmla="*/ 59810 h 252000"/>
              <a:gd name="connsiteX18" fmla="*/ 830208 w 1165502"/>
              <a:gd name="connsiteY18" fmla="*/ 126798 h 252000"/>
              <a:gd name="connsiteX19" fmla="*/ 711493 w 1165502"/>
              <a:gd name="connsiteY19" fmla="*/ 193785 h 252000"/>
              <a:gd name="connsiteX20" fmla="*/ 1135821 w 1165502"/>
              <a:gd name="connsiteY20" fmla="*/ 5582 h 252000"/>
              <a:gd name="connsiteX21" fmla="*/ 1106140 w 1165502"/>
              <a:gd name="connsiteY21" fmla="*/ 35089 h 252000"/>
              <a:gd name="connsiteX22" fmla="*/ 1106140 w 1165502"/>
              <a:gd name="connsiteY22" fmla="*/ 133975 h 252000"/>
              <a:gd name="connsiteX23" fmla="*/ 945718 w 1165502"/>
              <a:gd name="connsiteY23" fmla="*/ 7177 h 252000"/>
              <a:gd name="connsiteX24" fmla="*/ 932079 w 1165502"/>
              <a:gd name="connsiteY24" fmla="*/ 13557 h 252000"/>
              <a:gd name="connsiteX25" fmla="*/ 932079 w 1165502"/>
              <a:gd name="connsiteY25" fmla="*/ 216911 h 252000"/>
              <a:gd name="connsiteX26" fmla="*/ 961760 w 1165502"/>
              <a:gd name="connsiteY26" fmla="*/ 246417 h 252000"/>
              <a:gd name="connsiteX27" fmla="*/ 991441 w 1165502"/>
              <a:gd name="connsiteY27" fmla="*/ 216911 h 252000"/>
              <a:gd name="connsiteX28" fmla="*/ 991441 w 1165502"/>
              <a:gd name="connsiteY28" fmla="*/ 118823 h 252000"/>
              <a:gd name="connsiteX29" fmla="*/ 1151863 w 1165502"/>
              <a:gd name="connsiteY29" fmla="*/ 245620 h 252000"/>
              <a:gd name="connsiteX30" fmla="*/ 1165502 w 1165502"/>
              <a:gd name="connsiteY30" fmla="*/ 239240 h 252000"/>
              <a:gd name="connsiteX31" fmla="*/ 1165502 w 1165502"/>
              <a:gd name="connsiteY31" fmla="*/ 35089 h 252000"/>
              <a:gd name="connsiteX32" fmla="*/ 1135821 w 1165502"/>
              <a:gd name="connsiteY32" fmla="*/ 5582 h 252000"/>
              <a:gd name="connsiteX33" fmla="*/ 486896 w 1165502"/>
              <a:gd name="connsiteY33" fmla="*/ 188202 h 252000"/>
              <a:gd name="connsiteX34" fmla="*/ 385827 w 1165502"/>
              <a:gd name="connsiteY34" fmla="*/ 188202 h 252000"/>
              <a:gd name="connsiteX35" fmla="*/ 514168 w 1165502"/>
              <a:gd name="connsiteY35" fmla="*/ 19139 h 252000"/>
              <a:gd name="connsiteX36" fmla="*/ 507752 w 1165502"/>
              <a:gd name="connsiteY36" fmla="*/ 5582 h 252000"/>
              <a:gd name="connsiteX37" fmla="*/ 321656 w 1165502"/>
              <a:gd name="connsiteY37" fmla="*/ 5582 h 252000"/>
              <a:gd name="connsiteX38" fmla="*/ 291977 w 1165502"/>
              <a:gd name="connsiteY38" fmla="*/ 35089 h 252000"/>
              <a:gd name="connsiteX39" fmla="*/ 321656 w 1165502"/>
              <a:gd name="connsiteY39" fmla="*/ 64595 h 252000"/>
              <a:gd name="connsiteX40" fmla="*/ 405881 w 1165502"/>
              <a:gd name="connsiteY40" fmla="*/ 64595 h 252000"/>
              <a:gd name="connsiteX41" fmla="*/ 276737 w 1165502"/>
              <a:gd name="connsiteY41" fmla="*/ 233658 h 252000"/>
              <a:gd name="connsiteX42" fmla="*/ 283956 w 1165502"/>
              <a:gd name="connsiteY42" fmla="*/ 247215 h 252000"/>
              <a:gd name="connsiteX43" fmla="*/ 486896 w 1165502"/>
              <a:gd name="connsiteY43" fmla="*/ 247215 h 252000"/>
              <a:gd name="connsiteX44" fmla="*/ 516575 w 1165502"/>
              <a:gd name="connsiteY44" fmla="*/ 217709 h 252000"/>
              <a:gd name="connsiteX45" fmla="*/ 486896 w 1165502"/>
              <a:gd name="connsiteY45" fmla="*/ 188202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165502" h="252000">
                <a:moveTo>
                  <a:pt x="126737" y="0"/>
                </a:moveTo>
                <a:cubicBezTo>
                  <a:pt x="56952" y="0"/>
                  <a:pt x="0" y="56620"/>
                  <a:pt x="0" y="126000"/>
                </a:cubicBezTo>
                <a:cubicBezTo>
                  <a:pt x="0" y="195380"/>
                  <a:pt x="56952" y="252000"/>
                  <a:pt x="126737" y="252000"/>
                </a:cubicBezTo>
                <a:cubicBezTo>
                  <a:pt x="197325" y="252000"/>
                  <a:pt x="253475" y="195380"/>
                  <a:pt x="253475" y="126000"/>
                </a:cubicBezTo>
                <a:cubicBezTo>
                  <a:pt x="253475" y="56620"/>
                  <a:pt x="197325" y="0"/>
                  <a:pt x="126737" y="0"/>
                </a:cubicBezTo>
                <a:close/>
                <a:moveTo>
                  <a:pt x="126737" y="193785"/>
                </a:moveTo>
                <a:cubicBezTo>
                  <a:pt x="89037" y="193785"/>
                  <a:pt x="58556" y="163481"/>
                  <a:pt x="58556" y="126000"/>
                </a:cubicBezTo>
                <a:cubicBezTo>
                  <a:pt x="58556" y="88519"/>
                  <a:pt x="89037" y="58215"/>
                  <a:pt x="126737" y="58215"/>
                </a:cubicBezTo>
                <a:cubicBezTo>
                  <a:pt x="164437" y="58215"/>
                  <a:pt x="194918" y="88519"/>
                  <a:pt x="194918" y="126000"/>
                </a:cubicBezTo>
                <a:cubicBezTo>
                  <a:pt x="194918" y="163481"/>
                  <a:pt x="164437" y="193785"/>
                  <a:pt x="126737" y="193785"/>
                </a:cubicBezTo>
                <a:close/>
                <a:moveTo>
                  <a:pt x="711493" y="0"/>
                </a:moveTo>
                <a:cubicBezTo>
                  <a:pt x="612831" y="0"/>
                  <a:pt x="533420" y="56620"/>
                  <a:pt x="533420" y="126000"/>
                </a:cubicBezTo>
                <a:cubicBezTo>
                  <a:pt x="533420" y="195380"/>
                  <a:pt x="612831" y="252000"/>
                  <a:pt x="711493" y="252000"/>
                </a:cubicBezTo>
                <a:cubicBezTo>
                  <a:pt x="810158" y="252000"/>
                  <a:pt x="889569" y="195380"/>
                  <a:pt x="889569" y="126000"/>
                </a:cubicBezTo>
                <a:cubicBezTo>
                  <a:pt x="889569" y="56620"/>
                  <a:pt x="809355" y="0"/>
                  <a:pt x="711493" y="0"/>
                </a:cubicBezTo>
                <a:close/>
                <a:moveTo>
                  <a:pt x="711493" y="193785"/>
                </a:moveTo>
                <a:cubicBezTo>
                  <a:pt x="643312" y="193785"/>
                  <a:pt x="592778" y="157898"/>
                  <a:pt x="592778" y="126798"/>
                </a:cubicBezTo>
                <a:cubicBezTo>
                  <a:pt x="592778" y="95696"/>
                  <a:pt x="643312" y="59810"/>
                  <a:pt x="711493" y="59810"/>
                </a:cubicBezTo>
                <a:cubicBezTo>
                  <a:pt x="779675" y="59810"/>
                  <a:pt x="830208" y="95696"/>
                  <a:pt x="830208" y="126798"/>
                </a:cubicBezTo>
                <a:cubicBezTo>
                  <a:pt x="830208" y="157898"/>
                  <a:pt x="778873" y="193785"/>
                  <a:pt x="711493" y="193785"/>
                </a:cubicBezTo>
                <a:close/>
                <a:moveTo>
                  <a:pt x="1135821" y="5582"/>
                </a:moveTo>
                <a:cubicBezTo>
                  <a:pt x="1119780" y="5582"/>
                  <a:pt x="1106140" y="19139"/>
                  <a:pt x="1106140" y="35089"/>
                </a:cubicBezTo>
                <a:lnTo>
                  <a:pt x="1106140" y="133975"/>
                </a:lnTo>
                <a:lnTo>
                  <a:pt x="945718" y="7177"/>
                </a:lnTo>
                <a:cubicBezTo>
                  <a:pt x="940103" y="2392"/>
                  <a:pt x="932079" y="6380"/>
                  <a:pt x="932079" y="13557"/>
                </a:cubicBezTo>
                <a:lnTo>
                  <a:pt x="932079" y="216911"/>
                </a:lnTo>
                <a:cubicBezTo>
                  <a:pt x="932079" y="232861"/>
                  <a:pt x="945718" y="246417"/>
                  <a:pt x="961760" y="246417"/>
                </a:cubicBezTo>
                <a:cubicBezTo>
                  <a:pt x="977801" y="246417"/>
                  <a:pt x="991441" y="232861"/>
                  <a:pt x="991441" y="216911"/>
                </a:cubicBezTo>
                <a:lnTo>
                  <a:pt x="991441" y="118823"/>
                </a:lnTo>
                <a:lnTo>
                  <a:pt x="1151863" y="245620"/>
                </a:lnTo>
                <a:cubicBezTo>
                  <a:pt x="1157477" y="250405"/>
                  <a:pt x="1165502" y="246417"/>
                  <a:pt x="1165502" y="239240"/>
                </a:cubicBezTo>
                <a:lnTo>
                  <a:pt x="1165502" y="35089"/>
                </a:lnTo>
                <a:cubicBezTo>
                  <a:pt x="1165502" y="19139"/>
                  <a:pt x="1151863" y="5582"/>
                  <a:pt x="1135821" y="5582"/>
                </a:cubicBezTo>
                <a:close/>
                <a:moveTo>
                  <a:pt x="486896" y="188202"/>
                </a:moveTo>
                <a:lnTo>
                  <a:pt x="385827" y="188202"/>
                </a:lnTo>
                <a:lnTo>
                  <a:pt x="514168" y="19139"/>
                </a:lnTo>
                <a:cubicBezTo>
                  <a:pt x="518179" y="13557"/>
                  <a:pt x="514168" y="5582"/>
                  <a:pt x="507752" y="5582"/>
                </a:cubicBezTo>
                <a:lnTo>
                  <a:pt x="321656" y="5582"/>
                </a:lnTo>
                <a:cubicBezTo>
                  <a:pt x="305614" y="5582"/>
                  <a:pt x="291977" y="19139"/>
                  <a:pt x="291977" y="35089"/>
                </a:cubicBezTo>
                <a:cubicBezTo>
                  <a:pt x="291977" y="51038"/>
                  <a:pt x="305614" y="64595"/>
                  <a:pt x="321656" y="64595"/>
                </a:cubicBezTo>
                <a:lnTo>
                  <a:pt x="405881" y="64595"/>
                </a:lnTo>
                <a:lnTo>
                  <a:pt x="276737" y="233658"/>
                </a:lnTo>
                <a:cubicBezTo>
                  <a:pt x="272726" y="239240"/>
                  <a:pt x="276737" y="247215"/>
                  <a:pt x="283956" y="247215"/>
                </a:cubicBezTo>
                <a:lnTo>
                  <a:pt x="486896" y="247215"/>
                </a:lnTo>
                <a:cubicBezTo>
                  <a:pt x="502939" y="247215"/>
                  <a:pt x="516575" y="233658"/>
                  <a:pt x="516575" y="217709"/>
                </a:cubicBezTo>
                <a:cubicBezTo>
                  <a:pt x="516575" y="201760"/>
                  <a:pt x="502939" y="188202"/>
                  <a:pt x="486896" y="188202"/>
                </a:cubicBezTo>
                <a:close/>
              </a:path>
            </a:pathLst>
          </a:custGeom>
          <a:solidFill>
            <a:schemeClr val="bg1"/>
          </a:solidFill>
          <a:ln w="785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6907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orient="horz" pos="268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_colored">
    <p:bg>
      <p:bgPr>
        <a:solidFill>
          <a:srgbClr val="004E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6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4692F5B7-B90A-C91A-2047-FDFD8FC7FE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49399" y="6465021"/>
            <a:ext cx="8182800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E7388FD-D149-4D25-0D53-8FD572183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7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</a:t>
            </a:r>
            <a:br>
              <a:rPr lang="ru-RU"/>
            </a:br>
            <a:r>
              <a:rPr lang="ru-RU"/>
              <a:t>слайда в 1–2 строки</a:t>
            </a:r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/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21549CC-0872-1288-C1D5-BD89CF9450AC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26561D24-BBBB-253A-7A51-A96C57F40E5B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A2B8DFB7-79B0-0439-C360-6941BF32E4D7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9298A01-26D5-77F0-1B44-28C8BBA32B5A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21EA26B0-23BA-7A00-892D-A1F326878E52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A5D3FC7E-9D3D-EB60-5F4A-AB0976EFEC60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068336B-339F-1776-3C0F-78C717AA59C8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48ABCE10-7A7F-1324-4D1D-7AD10D1042B1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FA92F67-A433-8731-5914-B14989A94311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504D71D0-6847-ADE8-467F-77206D5DE761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AB17545C-2653-11B9-6AAD-F2414CA88813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1D454EF4-1099-5940-A5D4-5F82D3172AE1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AB6D7EE-DAF5-E7EF-6D1E-0891469BD32B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E6DA982A-4819-86A4-B3E3-3820BE19C0E0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Прямоугольник: скругленные углы 51">
              <a:extLst>
                <a:ext uri="{FF2B5EF4-FFF2-40B4-BE49-F238E27FC236}">
                  <a16:creationId xmlns:a16="http://schemas.microsoft.com/office/drawing/2014/main" id="{4C7A1397-7A11-591D-AA68-55A9039699E9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9008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64568EE7-F81D-84C3-5AE6-8B77C2134C94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0BC0B63B-AFDA-54FE-3829-EC8AA6CFBAEB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2FE7B29-A123-EF1E-09DB-12AADC874FA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60" name="Рисунок 93">
              <a:extLst>
                <a:ext uri="{FF2B5EF4-FFF2-40B4-BE49-F238E27FC236}">
                  <a16:creationId xmlns:a16="http://schemas.microsoft.com/office/drawing/2014/main" id="{AA53B632-DD94-4453-746B-3AC3CCA27D0B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DE6F264-2180-A77B-E487-478DC7F970C2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2B9BFCAF-86CA-1244-E85A-F30E4AC766F2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64">
              <a:extLst>
                <a:ext uri="{FF2B5EF4-FFF2-40B4-BE49-F238E27FC236}">
                  <a16:creationId xmlns:a16="http://schemas.microsoft.com/office/drawing/2014/main" id="{860A63BB-781E-AEA8-4E5D-D35214A49880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65">
              <a:extLst>
                <a:ext uri="{FF2B5EF4-FFF2-40B4-BE49-F238E27FC236}">
                  <a16:creationId xmlns:a16="http://schemas.microsoft.com/office/drawing/2014/main" id="{09CABE96-EC03-3157-B363-C0896B3891CC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EF4B2147-300C-3BFA-81C6-8712BD20BD73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4EE10FC-9DA3-93DA-C40F-EE6AAC1DA6AC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580B6A99-E717-2740-36C4-A72DCF75745A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Прямоугольник: скругленные углы 16">
              <a:extLst>
                <a:ext uri="{FF2B5EF4-FFF2-40B4-BE49-F238E27FC236}">
                  <a16:creationId xmlns:a16="http://schemas.microsoft.com/office/drawing/2014/main" id="{8CC18F95-EA8B-20E0-9AED-F6279027B331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D236EB0-0368-AF7A-C5FA-BA1C74876D58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</p:grpSp>
      <p:sp>
        <p:nvSpPr>
          <p:cNvPr id="5" name="Рисунок 1">
            <a:extLst>
              <a:ext uri="{FF2B5EF4-FFF2-40B4-BE49-F238E27FC236}">
                <a16:creationId xmlns:a16="http://schemas.microsoft.com/office/drawing/2014/main" id="{EDDE68B4-5ABD-3EA6-201F-CE3D91E24CAF}"/>
              </a:ext>
            </a:extLst>
          </p:cNvPr>
          <p:cNvSpPr/>
          <p:nvPr userDrawn="1"/>
        </p:nvSpPr>
        <p:spPr>
          <a:xfrm>
            <a:off x="640541" y="6472839"/>
            <a:ext cx="596000" cy="128865"/>
          </a:xfrm>
          <a:custGeom>
            <a:avLst/>
            <a:gdLst>
              <a:gd name="connsiteX0" fmla="*/ 64809 w 596000"/>
              <a:gd name="connsiteY0" fmla="*/ 0 h 128865"/>
              <a:gd name="connsiteX1" fmla="*/ 0 w 596000"/>
              <a:gd name="connsiteY1" fmla="*/ 64433 h 128865"/>
              <a:gd name="connsiteX2" fmla="*/ 64809 w 596000"/>
              <a:gd name="connsiteY2" fmla="*/ 128865 h 128865"/>
              <a:gd name="connsiteX3" fmla="*/ 129619 w 596000"/>
              <a:gd name="connsiteY3" fmla="*/ 64433 h 128865"/>
              <a:gd name="connsiteX4" fmla="*/ 64809 w 596000"/>
              <a:gd name="connsiteY4" fmla="*/ 0 h 128865"/>
              <a:gd name="connsiteX5" fmla="*/ 64809 w 596000"/>
              <a:gd name="connsiteY5" fmla="*/ 99096 h 128865"/>
              <a:gd name="connsiteX6" fmla="*/ 29944 w 596000"/>
              <a:gd name="connsiteY6" fmla="*/ 64433 h 128865"/>
              <a:gd name="connsiteX7" fmla="*/ 64809 w 596000"/>
              <a:gd name="connsiteY7" fmla="*/ 29769 h 128865"/>
              <a:gd name="connsiteX8" fmla="*/ 99675 w 596000"/>
              <a:gd name="connsiteY8" fmla="*/ 64433 h 128865"/>
              <a:gd name="connsiteX9" fmla="*/ 64809 w 596000"/>
              <a:gd name="connsiteY9" fmla="*/ 99096 h 128865"/>
              <a:gd name="connsiteX10" fmla="*/ 363835 w 596000"/>
              <a:gd name="connsiteY10" fmla="*/ 0 h 128865"/>
              <a:gd name="connsiteX11" fmla="*/ 272774 w 596000"/>
              <a:gd name="connsiteY11" fmla="*/ 64433 h 128865"/>
              <a:gd name="connsiteX12" fmla="*/ 363835 w 596000"/>
              <a:gd name="connsiteY12" fmla="*/ 128865 h 128865"/>
              <a:gd name="connsiteX13" fmla="*/ 454897 w 596000"/>
              <a:gd name="connsiteY13" fmla="*/ 64433 h 128865"/>
              <a:gd name="connsiteX14" fmla="*/ 363835 w 596000"/>
              <a:gd name="connsiteY14" fmla="*/ 0 h 128865"/>
              <a:gd name="connsiteX15" fmla="*/ 363835 w 596000"/>
              <a:gd name="connsiteY15" fmla="*/ 99096 h 128865"/>
              <a:gd name="connsiteX16" fmla="*/ 303127 w 596000"/>
              <a:gd name="connsiteY16" fmla="*/ 64840 h 128865"/>
              <a:gd name="connsiteX17" fmla="*/ 363835 w 596000"/>
              <a:gd name="connsiteY17" fmla="*/ 30585 h 128865"/>
              <a:gd name="connsiteX18" fmla="*/ 424541 w 596000"/>
              <a:gd name="connsiteY18" fmla="*/ 64840 h 128865"/>
              <a:gd name="connsiteX19" fmla="*/ 363835 w 596000"/>
              <a:gd name="connsiteY19" fmla="*/ 99096 h 128865"/>
              <a:gd name="connsiteX20" fmla="*/ 580822 w 596000"/>
              <a:gd name="connsiteY20" fmla="*/ 2855 h 128865"/>
              <a:gd name="connsiteX21" fmla="*/ 565644 w 596000"/>
              <a:gd name="connsiteY21" fmla="*/ 17943 h 128865"/>
              <a:gd name="connsiteX22" fmla="*/ 565644 w 596000"/>
              <a:gd name="connsiteY22" fmla="*/ 68511 h 128865"/>
              <a:gd name="connsiteX23" fmla="*/ 483610 w 596000"/>
              <a:gd name="connsiteY23" fmla="*/ 3670 h 128865"/>
              <a:gd name="connsiteX24" fmla="*/ 476635 w 596000"/>
              <a:gd name="connsiteY24" fmla="*/ 6933 h 128865"/>
              <a:gd name="connsiteX25" fmla="*/ 476635 w 596000"/>
              <a:gd name="connsiteY25" fmla="*/ 110922 h 128865"/>
              <a:gd name="connsiteX26" fmla="*/ 491813 w 596000"/>
              <a:gd name="connsiteY26" fmla="*/ 126010 h 128865"/>
              <a:gd name="connsiteX27" fmla="*/ 506991 w 596000"/>
              <a:gd name="connsiteY27" fmla="*/ 110922 h 128865"/>
              <a:gd name="connsiteX28" fmla="*/ 506991 w 596000"/>
              <a:gd name="connsiteY28" fmla="*/ 60762 h 128865"/>
              <a:gd name="connsiteX29" fmla="*/ 589025 w 596000"/>
              <a:gd name="connsiteY29" fmla="*/ 125603 h 128865"/>
              <a:gd name="connsiteX30" fmla="*/ 596000 w 596000"/>
              <a:gd name="connsiteY30" fmla="*/ 122340 h 128865"/>
              <a:gd name="connsiteX31" fmla="*/ 596000 w 596000"/>
              <a:gd name="connsiteY31" fmla="*/ 17943 h 128865"/>
              <a:gd name="connsiteX32" fmla="*/ 580822 w 596000"/>
              <a:gd name="connsiteY32" fmla="*/ 2855 h 128865"/>
              <a:gd name="connsiteX33" fmla="*/ 248983 w 596000"/>
              <a:gd name="connsiteY33" fmla="*/ 96241 h 128865"/>
              <a:gd name="connsiteX34" fmla="*/ 197299 w 596000"/>
              <a:gd name="connsiteY34" fmla="*/ 96241 h 128865"/>
              <a:gd name="connsiteX35" fmla="*/ 262929 w 596000"/>
              <a:gd name="connsiteY35" fmla="*/ 9787 h 128865"/>
              <a:gd name="connsiteX36" fmla="*/ 259648 w 596000"/>
              <a:gd name="connsiteY36" fmla="*/ 2855 h 128865"/>
              <a:gd name="connsiteX37" fmla="*/ 164484 w 596000"/>
              <a:gd name="connsiteY37" fmla="*/ 2855 h 128865"/>
              <a:gd name="connsiteX38" fmla="*/ 149308 w 596000"/>
              <a:gd name="connsiteY38" fmla="*/ 17943 h 128865"/>
              <a:gd name="connsiteX39" fmla="*/ 164484 w 596000"/>
              <a:gd name="connsiteY39" fmla="*/ 33032 h 128865"/>
              <a:gd name="connsiteX40" fmla="*/ 207554 w 596000"/>
              <a:gd name="connsiteY40" fmla="*/ 33032 h 128865"/>
              <a:gd name="connsiteX41" fmla="*/ 141514 w 596000"/>
              <a:gd name="connsiteY41" fmla="*/ 119486 h 128865"/>
              <a:gd name="connsiteX42" fmla="*/ 145206 w 596000"/>
              <a:gd name="connsiteY42" fmla="*/ 126418 h 128865"/>
              <a:gd name="connsiteX43" fmla="*/ 248983 w 596000"/>
              <a:gd name="connsiteY43" fmla="*/ 126418 h 128865"/>
              <a:gd name="connsiteX44" fmla="*/ 264160 w 596000"/>
              <a:gd name="connsiteY44" fmla="*/ 111330 h 128865"/>
              <a:gd name="connsiteX45" fmla="*/ 248983 w 596000"/>
              <a:gd name="connsiteY45" fmla="*/ 96241 h 128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96000" h="128865">
                <a:moveTo>
                  <a:pt x="64809" y="0"/>
                </a:moveTo>
                <a:cubicBezTo>
                  <a:pt x="29123" y="0"/>
                  <a:pt x="0" y="28954"/>
                  <a:pt x="0" y="64433"/>
                </a:cubicBezTo>
                <a:cubicBezTo>
                  <a:pt x="0" y="99911"/>
                  <a:pt x="29123" y="128865"/>
                  <a:pt x="64809" y="128865"/>
                </a:cubicBezTo>
                <a:cubicBezTo>
                  <a:pt x="100906" y="128865"/>
                  <a:pt x="129619" y="99911"/>
                  <a:pt x="129619" y="64433"/>
                </a:cubicBezTo>
                <a:cubicBezTo>
                  <a:pt x="129619" y="28954"/>
                  <a:pt x="100906" y="0"/>
                  <a:pt x="64809" y="0"/>
                </a:cubicBezTo>
                <a:close/>
                <a:moveTo>
                  <a:pt x="64809" y="99096"/>
                </a:moveTo>
                <a:cubicBezTo>
                  <a:pt x="45531" y="99096"/>
                  <a:pt x="29944" y="83599"/>
                  <a:pt x="29944" y="64433"/>
                </a:cubicBezTo>
                <a:cubicBezTo>
                  <a:pt x="29944" y="45266"/>
                  <a:pt x="45531" y="29769"/>
                  <a:pt x="64809" y="29769"/>
                </a:cubicBezTo>
                <a:cubicBezTo>
                  <a:pt x="84088" y="29769"/>
                  <a:pt x="99675" y="45266"/>
                  <a:pt x="99675" y="64433"/>
                </a:cubicBezTo>
                <a:cubicBezTo>
                  <a:pt x="99675" y="83599"/>
                  <a:pt x="84088" y="99096"/>
                  <a:pt x="64809" y="99096"/>
                </a:cubicBezTo>
                <a:close/>
                <a:moveTo>
                  <a:pt x="363835" y="0"/>
                </a:moveTo>
                <a:cubicBezTo>
                  <a:pt x="313382" y="0"/>
                  <a:pt x="272774" y="28954"/>
                  <a:pt x="272774" y="64433"/>
                </a:cubicBezTo>
                <a:cubicBezTo>
                  <a:pt x="272774" y="99911"/>
                  <a:pt x="313382" y="128865"/>
                  <a:pt x="363835" y="128865"/>
                </a:cubicBezTo>
                <a:cubicBezTo>
                  <a:pt x="414288" y="128865"/>
                  <a:pt x="454897" y="99911"/>
                  <a:pt x="454897" y="64433"/>
                </a:cubicBezTo>
                <a:cubicBezTo>
                  <a:pt x="454897" y="28954"/>
                  <a:pt x="413878" y="0"/>
                  <a:pt x="363835" y="0"/>
                </a:cubicBezTo>
                <a:close/>
                <a:moveTo>
                  <a:pt x="363835" y="99096"/>
                </a:moveTo>
                <a:cubicBezTo>
                  <a:pt x="328969" y="99096"/>
                  <a:pt x="303127" y="80744"/>
                  <a:pt x="303127" y="64840"/>
                </a:cubicBezTo>
                <a:cubicBezTo>
                  <a:pt x="303127" y="48936"/>
                  <a:pt x="328969" y="30585"/>
                  <a:pt x="363835" y="30585"/>
                </a:cubicBezTo>
                <a:cubicBezTo>
                  <a:pt x="398701" y="30585"/>
                  <a:pt x="424541" y="48936"/>
                  <a:pt x="424541" y="64840"/>
                </a:cubicBezTo>
                <a:cubicBezTo>
                  <a:pt x="424541" y="80744"/>
                  <a:pt x="398290" y="99096"/>
                  <a:pt x="363835" y="99096"/>
                </a:cubicBezTo>
                <a:close/>
                <a:moveTo>
                  <a:pt x="580822" y="2855"/>
                </a:moveTo>
                <a:cubicBezTo>
                  <a:pt x="572619" y="2855"/>
                  <a:pt x="565644" y="9787"/>
                  <a:pt x="565644" y="17943"/>
                </a:cubicBezTo>
                <a:lnTo>
                  <a:pt x="565644" y="68511"/>
                </a:lnTo>
                <a:lnTo>
                  <a:pt x="483610" y="3670"/>
                </a:lnTo>
                <a:cubicBezTo>
                  <a:pt x="480738" y="1223"/>
                  <a:pt x="476635" y="3262"/>
                  <a:pt x="476635" y="6933"/>
                </a:cubicBezTo>
                <a:lnTo>
                  <a:pt x="476635" y="110922"/>
                </a:lnTo>
                <a:cubicBezTo>
                  <a:pt x="476635" y="119078"/>
                  <a:pt x="483610" y="126010"/>
                  <a:pt x="491813" y="126010"/>
                </a:cubicBezTo>
                <a:cubicBezTo>
                  <a:pt x="500016" y="126010"/>
                  <a:pt x="506991" y="119078"/>
                  <a:pt x="506991" y="110922"/>
                </a:cubicBezTo>
                <a:lnTo>
                  <a:pt x="506991" y="60762"/>
                </a:lnTo>
                <a:lnTo>
                  <a:pt x="589025" y="125603"/>
                </a:lnTo>
                <a:cubicBezTo>
                  <a:pt x="591897" y="128050"/>
                  <a:pt x="596000" y="126010"/>
                  <a:pt x="596000" y="122340"/>
                </a:cubicBezTo>
                <a:lnTo>
                  <a:pt x="596000" y="17943"/>
                </a:lnTo>
                <a:cubicBezTo>
                  <a:pt x="596000" y="9787"/>
                  <a:pt x="589025" y="2855"/>
                  <a:pt x="580822" y="2855"/>
                </a:cubicBezTo>
                <a:close/>
                <a:moveTo>
                  <a:pt x="248983" y="96241"/>
                </a:moveTo>
                <a:lnTo>
                  <a:pt x="197299" y="96241"/>
                </a:lnTo>
                <a:lnTo>
                  <a:pt x="262929" y="9787"/>
                </a:lnTo>
                <a:cubicBezTo>
                  <a:pt x="264980" y="6933"/>
                  <a:pt x="262929" y="2855"/>
                  <a:pt x="259648" y="2855"/>
                </a:cubicBezTo>
                <a:lnTo>
                  <a:pt x="164484" y="2855"/>
                </a:lnTo>
                <a:cubicBezTo>
                  <a:pt x="156281" y="2855"/>
                  <a:pt x="149308" y="9787"/>
                  <a:pt x="149308" y="17943"/>
                </a:cubicBezTo>
                <a:cubicBezTo>
                  <a:pt x="149308" y="26099"/>
                  <a:pt x="156281" y="33032"/>
                  <a:pt x="164484" y="33032"/>
                </a:cubicBezTo>
                <a:lnTo>
                  <a:pt x="207554" y="33032"/>
                </a:lnTo>
                <a:lnTo>
                  <a:pt x="141514" y="119486"/>
                </a:lnTo>
                <a:cubicBezTo>
                  <a:pt x="139463" y="122340"/>
                  <a:pt x="141514" y="126418"/>
                  <a:pt x="145206" y="126418"/>
                </a:cubicBezTo>
                <a:lnTo>
                  <a:pt x="248983" y="126418"/>
                </a:lnTo>
                <a:cubicBezTo>
                  <a:pt x="257186" y="126418"/>
                  <a:pt x="264160" y="119486"/>
                  <a:pt x="264160" y="111330"/>
                </a:cubicBezTo>
                <a:cubicBezTo>
                  <a:pt x="264160" y="103174"/>
                  <a:pt x="257186" y="96241"/>
                  <a:pt x="248983" y="96241"/>
                </a:cubicBezTo>
                <a:close/>
              </a:path>
            </a:pathLst>
          </a:custGeom>
          <a:solidFill>
            <a:schemeClr val="bg1"/>
          </a:solidFill>
          <a:ln w="399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9178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_colored">
    <p:bg>
      <p:bgPr>
        <a:solidFill>
          <a:srgbClr val="004E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0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4692F5B7-B90A-C91A-2047-FDFD8FC7FE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49399" y="6465021"/>
            <a:ext cx="8182800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/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21549CC-0872-1288-C1D5-BD89CF9450AC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26561D24-BBBB-253A-7A51-A96C57F40E5B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A2B8DFB7-79B0-0439-C360-6941BF32E4D7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9298A01-26D5-77F0-1B44-28C8BBA32B5A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21EA26B0-23BA-7A00-892D-A1F326878E52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A5D3FC7E-9D3D-EB60-5F4A-AB0976EFEC60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068336B-339F-1776-3C0F-78C717AA59C8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48ABCE10-7A7F-1324-4D1D-7AD10D1042B1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FA92F67-A433-8731-5914-B14989A94311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504D71D0-6847-ADE8-467F-77206D5DE761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AB17545C-2653-11B9-6AAD-F2414CA88813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1D454EF4-1099-5940-A5D4-5F82D3172AE1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AB6D7EE-DAF5-E7EF-6D1E-0891469BD32B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E6DA982A-4819-86A4-B3E3-3820BE19C0E0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Прямоугольник: скругленные углы 51">
              <a:extLst>
                <a:ext uri="{FF2B5EF4-FFF2-40B4-BE49-F238E27FC236}">
                  <a16:creationId xmlns:a16="http://schemas.microsoft.com/office/drawing/2014/main" id="{4C7A1397-7A11-591D-AA68-55A9039699E9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9008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64568EE7-F81D-84C3-5AE6-8B77C2134C94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0BC0B63B-AFDA-54FE-3829-EC8AA6CFBAEB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2FE7B29-A123-EF1E-09DB-12AADC874FA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60" name="Рисунок 93">
              <a:extLst>
                <a:ext uri="{FF2B5EF4-FFF2-40B4-BE49-F238E27FC236}">
                  <a16:creationId xmlns:a16="http://schemas.microsoft.com/office/drawing/2014/main" id="{AA53B632-DD94-4453-746B-3AC3CCA27D0B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DE6F264-2180-A77B-E487-478DC7F970C2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2B9BFCAF-86CA-1244-E85A-F30E4AC766F2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64">
              <a:extLst>
                <a:ext uri="{FF2B5EF4-FFF2-40B4-BE49-F238E27FC236}">
                  <a16:creationId xmlns:a16="http://schemas.microsoft.com/office/drawing/2014/main" id="{860A63BB-781E-AEA8-4E5D-D35214A49880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65">
              <a:extLst>
                <a:ext uri="{FF2B5EF4-FFF2-40B4-BE49-F238E27FC236}">
                  <a16:creationId xmlns:a16="http://schemas.microsoft.com/office/drawing/2014/main" id="{09CABE96-EC03-3157-B363-C0896B3891CC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EF4B2147-300C-3BFA-81C6-8712BD20BD73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4EE10FC-9DA3-93DA-C40F-EE6AAC1DA6AC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580B6A99-E717-2740-36C4-A72DCF75745A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Прямоугольник: скругленные углы 16">
              <a:extLst>
                <a:ext uri="{FF2B5EF4-FFF2-40B4-BE49-F238E27FC236}">
                  <a16:creationId xmlns:a16="http://schemas.microsoft.com/office/drawing/2014/main" id="{8CC18F95-EA8B-20E0-9AED-F6279027B331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D236EB0-0368-AF7A-C5FA-BA1C74876D58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</p:grp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E69F2E9-9C91-47CB-104F-08223C29A8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4"/>
            <a:ext cx="10910888" cy="3588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слайда в 1 строку</a:t>
            </a:r>
          </a:p>
        </p:txBody>
      </p:sp>
      <p:sp>
        <p:nvSpPr>
          <p:cNvPr id="7" name="Текст 10">
            <a:extLst>
              <a:ext uri="{FF2B5EF4-FFF2-40B4-BE49-F238E27FC236}">
                <a16:creationId xmlns:a16="http://schemas.microsoft.com/office/drawing/2014/main" id="{E9EE4166-D061-8EE2-C4D5-FEB88C0F4E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763" y="833072"/>
            <a:ext cx="10926762" cy="358858"/>
          </a:xfrm>
        </p:spPr>
        <p:txBody>
          <a:bodyPr/>
          <a:lstStyle>
            <a:lvl1pPr>
              <a:lnSpc>
                <a:spcPct val="9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Сформулируй подзаголовок в 1–2 строки</a:t>
            </a:r>
          </a:p>
        </p:txBody>
      </p:sp>
      <p:sp>
        <p:nvSpPr>
          <p:cNvPr id="11" name="Рисунок 1">
            <a:extLst>
              <a:ext uri="{FF2B5EF4-FFF2-40B4-BE49-F238E27FC236}">
                <a16:creationId xmlns:a16="http://schemas.microsoft.com/office/drawing/2014/main" id="{D554BF92-EE8A-725F-36CC-808010211175}"/>
              </a:ext>
            </a:extLst>
          </p:cNvPr>
          <p:cNvSpPr/>
          <p:nvPr userDrawn="1"/>
        </p:nvSpPr>
        <p:spPr>
          <a:xfrm>
            <a:off x="640541" y="6472839"/>
            <a:ext cx="596000" cy="128865"/>
          </a:xfrm>
          <a:custGeom>
            <a:avLst/>
            <a:gdLst>
              <a:gd name="connsiteX0" fmla="*/ 64809 w 596000"/>
              <a:gd name="connsiteY0" fmla="*/ 0 h 128865"/>
              <a:gd name="connsiteX1" fmla="*/ 0 w 596000"/>
              <a:gd name="connsiteY1" fmla="*/ 64433 h 128865"/>
              <a:gd name="connsiteX2" fmla="*/ 64809 w 596000"/>
              <a:gd name="connsiteY2" fmla="*/ 128865 h 128865"/>
              <a:gd name="connsiteX3" fmla="*/ 129619 w 596000"/>
              <a:gd name="connsiteY3" fmla="*/ 64433 h 128865"/>
              <a:gd name="connsiteX4" fmla="*/ 64809 w 596000"/>
              <a:gd name="connsiteY4" fmla="*/ 0 h 128865"/>
              <a:gd name="connsiteX5" fmla="*/ 64809 w 596000"/>
              <a:gd name="connsiteY5" fmla="*/ 99096 h 128865"/>
              <a:gd name="connsiteX6" fmla="*/ 29944 w 596000"/>
              <a:gd name="connsiteY6" fmla="*/ 64433 h 128865"/>
              <a:gd name="connsiteX7" fmla="*/ 64809 w 596000"/>
              <a:gd name="connsiteY7" fmla="*/ 29769 h 128865"/>
              <a:gd name="connsiteX8" fmla="*/ 99675 w 596000"/>
              <a:gd name="connsiteY8" fmla="*/ 64433 h 128865"/>
              <a:gd name="connsiteX9" fmla="*/ 64809 w 596000"/>
              <a:gd name="connsiteY9" fmla="*/ 99096 h 128865"/>
              <a:gd name="connsiteX10" fmla="*/ 363835 w 596000"/>
              <a:gd name="connsiteY10" fmla="*/ 0 h 128865"/>
              <a:gd name="connsiteX11" fmla="*/ 272774 w 596000"/>
              <a:gd name="connsiteY11" fmla="*/ 64433 h 128865"/>
              <a:gd name="connsiteX12" fmla="*/ 363835 w 596000"/>
              <a:gd name="connsiteY12" fmla="*/ 128865 h 128865"/>
              <a:gd name="connsiteX13" fmla="*/ 454897 w 596000"/>
              <a:gd name="connsiteY13" fmla="*/ 64433 h 128865"/>
              <a:gd name="connsiteX14" fmla="*/ 363835 w 596000"/>
              <a:gd name="connsiteY14" fmla="*/ 0 h 128865"/>
              <a:gd name="connsiteX15" fmla="*/ 363835 w 596000"/>
              <a:gd name="connsiteY15" fmla="*/ 99096 h 128865"/>
              <a:gd name="connsiteX16" fmla="*/ 303127 w 596000"/>
              <a:gd name="connsiteY16" fmla="*/ 64840 h 128865"/>
              <a:gd name="connsiteX17" fmla="*/ 363835 w 596000"/>
              <a:gd name="connsiteY17" fmla="*/ 30585 h 128865"/>
              <a:gd name="connsiteX18" fmla="*/ 424541 w 596000"/>
              <a:gd name="connsiteY18" fmla="*/ 64840 h 128865"/>
              <a:gd name="connsiteX19" fmla="*/ 363835 w 596000"/>
              <a:gd name="connsiteY19" fmla="*/ 99096 h 128865"/>
              <a:gd name="connsiteX20" fmla="*/ 580822 w 596000"/>
              <a:gd name="connsiteY20" fmla="*/ 2855 h 128865"/>
              <a:gd name="connsiteX21" fmla="*/ 565644 w 596000"/>
              <a:gd name="connsiteY21" fmla="*/ 17943 h 128865"/>
              <a:gd name="connsiteX22" fmla="*/ 565644 w 596000"/>
              <a:gd name="connsiteY22" fmla="*/ 68511 h 128865"/>
              <a:gd name="connsiteX23" fmla="*/ 483610 w 596000"/>
              <a:gd name="connsiteY23" fmla="*/ 3670 h 128865"/>
              <a:gd name="connsiteX24" fmla="*/ 476635 w 596000"/>
              <a:gd name="connsiteY24" fmla="*/ 6933 h 128865"/>
              <a:gd name="connsiteX25" fmla="*/ 476635 w 596000"/>
              <a:gd name="connsiteY25" fmla="*/ 110922 h 128865"/>
              <a:gd name="connsiteX26" fmla="*/ 491813 w 596000"/>
              <a:gd name="connsiteY26" fmla="*/ 126010 h 128865"/>
              <a:gd name="connsiteX27" fmla="*/ 506991 w 596000"/>
              <a:gd name="connsiteY27" fmla="*/ 110922 h 128865"/>
              <a:gd name="connsiteX28" fmla="*/ 506991 w 596000"/>
              <a:gd name="connsiteY28" fmla="*/ 60762 h 128865"/>
              <a:gd name="connsiteX29" fmla="*/ 589025 w 596000"/>
              <a:gd name="connsiteY29" fmla="*/ 125603 h 128865"/>
              <a:gd name="connsiteX30" fmla="*/ 596000 w 596000"/>
              <a:gd name="connsiteY30" fmla="*/ 122340 h 128865"/>
              <a:gd name="connsiteX31" fmla="*/ 596000 w 596000"/>
              <a:gd name="connsiteY31" fmla="*/ 17943 h 128865"/>
              <a:gd name="connsiteX32" fmla="*/ 580822 w 596000"/>
              <a:gd name="connsiteY32" fmla="*/ 2855 h 128865"/>
              <a:gd name="connsiteX33" fmla="*/ 248983 w 596000"/>
              <a:gd name="connsiteY33" fmla="*/ 96241 h 128865"/>
              <a:gd name="connsiteX34" fmla="*/ 197299 w 596000"/>
              <a:gd name="connsiteY34" fmla="*/ 96241 h 128865"/>
              <a:gd name="connsiteX35" fmla="*/ 262929 w 596000"/>
              <a:gd name="connsiteY35" fmla="*/ 9787 h 128865"/>
              <a:gd name="connsiteX36" fmla="*/ 259648 w 596000"/>
              <a:gd name="connsiteY36" fmla="*/ 2855 h 128865"/>
              <a:gd name="connsiteX37" fmla="*/ 164484 w 596000"/>
              <a:gd name="connsiteY37" fmla="*/ 2855 h 128865"/>
              <a:gd name="connsiteX38" fmla="*/ 149308 w 596000"/>
              <a:gd name="connsiteY38" fmla="*/ 17943 h 128865"/>
              <a:gd name="connsiteX39" fmla="*/ 164484 w 596000"/>
              <a:gd name="connsiteY39" fmla="*/ 33032 h 128865"/>
              <a:gd name="connsiteX40" fmla="*/ 207554 w 596000"/>
              <a:gd name="connsiteY40" fmla="*/ 33032 h 128865"/>
              <a:gd name="connsiteX41" fmla="*/ 141514 w 596000"/>
              <a:gd name="connsiteY41" fmla="*/ 119486 h 128865"/>
              <a:gd name="connsiteX42" fmla="*/ 145206 w 596000"/>
              <a:gd name="connsiteY42" fmla="*/ 126418 h 128865"/>
              <a:gd name="connsiteX43" fmla="*/ 248983 w 596000"/>
              <a:gd name="connsiteY43" fmla="*/ 126418 h 128865"/>
              <a:gd name="connsiteX44" fmla="*/ 264160 w 596000"/>
              <a:gd name="connsiteY44" fmla="*/ 111330 h 128865"/>
              <a:gd name="connsiteX45" fmla="*/ 248983 w 596000"/>
              <a:gd name="connsiteY45" fmla="*/ 96241 h 128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96000" h="128865">
                <a:moveTo>
                  <a:pt x="64809" y="0"/>
                </a:moveTo>
                <a:cubicBezTo>
                  <a:pt x="29123" y="0"/>
                  <a:pt x="0" y="28954"/>
                  <a:pt x="0" y="64433"/>
                </a:cubicBezTo>
                <a:cubicBezTo>
                  <a:pt x="0" y="99911"/>
                  <a:pt x="29123" y="128865"/>
                  <a:pt x="64809" y="128865"/>
                </a:cubicBezTo>
                <a:cubicBezTo>
                  <a:pt x="100906" y="128865"/>
                  <a:pt x="129619" y="99911"/>
                  <a:pt x="129619" y="64433"/>
                </a:cubicBezTo>
                <a:cubicBezTo>
                  <a:pt x="129619" y="28954"/>
                  <a:pt x="100906" y="0"/>
                  <a:pt x="64809" y="0"/>
                </a:cubicBezTo>
                <a:close/>
                <a:moveTo>
                  <a:pt x="64809" y="99096"/>
                </a:moveTo>
                <a:cubicBezTo>
                  <a:pt x="45531" y="99096"/>
                  <a:pt x="29944" y="83599"/>
                  <a:pt x="29944" y="64433"/>
                </a:cubicBezTo>
                <a:cubicBezTo>
                  <a:pt x="29944" y="45266"/>
                  <a:pt x="45531" y="29769"/>
                  <a:pt x="64809" y="29769"/>
                </a:cubicBezTo>
                <a:cubicBezTo>
                  <a:pt x="84088" y="29769"/>
                  <a:pt x="99675" y="45266"/>
                  <a:pt x="99675" y="64433"/>
                </a:cubicBezTo>
                <a:cubicBezTo>
                  <a:pt x="99675" y="83599"/>
                  <a:pt x="84088" y="99096"/>
                  <a:pt x="64809" y="99096"/>
                </a:cubicBezTo>
                <a:close/>
                <a:moveTo>
                  <a:pt x="363835" y="0"/>
                </a:moveTo>
                <a:cubicBezTo>
                  <a:pt x="313382" y="0"/>
                  <a:pt x="272774" y="28954"/>
                  <a:pt x="272774" y="64433"/>
                </a:cubicBezTo>
                <a:cubicBezTo>
                  <a:pt x="272774" y="99911"/>
                  <a:pt x="313382" y="128865"/>
                  <a:pt x="363835" y="128865"/>
                </a:cubicBezTo>
                <a:cubicBezTo>
                  <a:pt x="414288" y="128865"/>
                  <a:pt x="454897" y="99911"/>
                  <a:pt x="454897" y="64433"/>
                </a:cubicBezTo>
                <a:cubicBezTo>
                  <a:pt x="454897" y="28954"/>
                  <a:pt x="413878" y="0"/>
                  <a:pt x="363835" y="0"/>
                </a:cubicBezTo>
                <a:close/>
                <a:moveTo>
                  <a:pt x="363835" y="99096"/>
                </a:moveTo>
                <a:cubicBezTo>
                  <a:pt x="328969" y="99096"/>
                  <a:pt x="303127" y="80744"/>
                  <a:pt x="303127" y="64840"/>
                </a:cubicBezTo>
                <a:cubicBezTo>
                  <a:pt x="303127" y="48936"/>
                  <a:pt x="328969" y="30585"/>
                  <a:pt x="363835" y="30585"/>
                </a:cubicBezTo>
                <a:cubicBezTo>
                  <a:pt x="398701" y="30585"/>
                  <a:pt x="424541" y="48936"/>
                  <a:pt x="424541" y="64840"/>
                </a:cubicBezTo>
                <a:cubicBezTo>
                  <a:pt x="424541" y="80744"/>
                  <a:pt x="398290" y="99096"/>
                  <a:pt x="363835" y="99096"/>
                </a:cubicBezTo>
                <a:close/>
                <a:moveTo>
                  <a:pt x="580822" y="2855"/>
                </a:moveTo>
                <a:cubicBezTo>
                  <a:pt x="572619" y="2855"/>
                  <a:pt x="565644" y="9787"/>
                  <a:pt x="565644" y="17943"/>
                </a:cubicBezTo>
                <a:lnTo>
                  <a:pt x="565644" y="68511"/>
                </a:lnTo>
                <a:lnTo>
                  <a:pt x="483610" y="3670"/>
                </a:lnTo>
                <a:cubicBezTo>
                  <a:pt x="480738" y="1223"/>
                  <a:pt x="476635" y="3262"/>
                  <a:pt x="476635" y="6933"/>
                </a:cubicBezTo>
                <a:lnTo>
                  <a:pt x="476635" y="110922"/>
                </a:lnTo>
                <a:cubicBezTo>
                  <a:pt x="476635" y="119078"/>
                  <a:pt x="483610" y="126010"/>
                  <a:pt x="491813" y="126010"/>
                </a:cubicBezTo>
                <a:cubicBezTo>
                  <a:pt x="500016" y="126010"/>
                  <a:pt x="506991" y="119078"/>
                  <a:pt x="506991" y="110922"/>
                </a:cubicBezTo>
                <a:lnTo>
                  <a:pt x="506991" y="60762"/>
                </a:lnTo>
                <a:lnTo>
                  <a:pt x="589025" y="125603"/>
                </a:lnTo>
                <a:cubicBezTo>
                  <a:pt x="591897" y="128050"/>
                  <a:pt x="596000" y="126010"/>
                  <a:pt x="596000" y="122340"/>
                </a:cubicBezTo>
                <a:lnTo>
                  <a:pt x="596000" y="17943"/>
                </a:lnTo>
                <a:cubicBezTo>
                  <a:pt x="596000" y="9787"/>
                  <a:pt x="589025" y="2855"/>
                  <a:pt x="580822" y="2855"/>
                </a:cubicBezTo>
                <a:close/>
                <a:moveTo>
                  <a:pt x="248983" y="96241"/>
                </a:moveTo>
                <a:lnTo>
                  <a:pt x="197299" y="96241"/>
                </a:lnTo>
                <a:lnTo>
                  <a:pt x="262929" y="9787"/>
                </a:lnTo>
                <a:cubicBezTo>
                  <a:pt x="264980" y="6933"/>
                  <a:pt x="262929" y="2855"/>
                  <a:pt x="259648" y="2855"/>
                </a:cubicBezTo>
                <a:lnTo>
                  <a:pt x="164484" y="2855"/>
                </a:lnTo>
                <a:cubicBezTo>
                  <a:pt x="156281" y="2855"/>
                  <a:pt x="149308" y="9787"/>
                  <a:pt x="149308" y="17943"/>
                </a:cubicBezTo>
                <a:cubicBezTo>
                  <a:pt x="149308" y="26099"/>
                  <a:pt x="156281" y="33032"/>
                  <a:pt x="164484" y="33032"/>
                </a:cubicBezTo>
                <a:lnTo>
                  <a:pt x="207554" y="33032"/>
                </a:lnTo>
                <a:lnTo>
                  <a:pt x="141514" y="119486"/>
                </a:lnTo>
                <a:cubicBezTo>
                  <a:pt x="139463" y="122340"/>
                  <a:pt x="141514" y="126418"/>
                  <a:pt x="145206" y="126418"/>
                </a:cubicBezTo>
                <a:lnTo>
                  <a:pt x="248983" y="126418"/>
                </a:lnTo>
                <a:cubicBezTo>
                  <a:pt x="257186" y="126418"/>
                  <a:pt x="264160" y="119486"/>
                  <a:pt x="264160" y="111330"/>
                </a:cubicBezTo>
                <a:cubicBezTo>
                  <a:pt x="264160" y="103174"/>
                  <a:pt x="257186" y="96241"/>
                  <a:pt x="248983" y="96241"/>
                </a:cubicBezTo>
                <a:close/>
              </a:path>
            </a:pathLst>
          </a:custGeom>
          <a:solidFill>
            <a:schemeClr val="bg1"/>
          </a:solidFill>
          <a:ln w="399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74671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_title_colored">
    <p:bg>
      <p:bgPr>
        <a:solidFill>
          <a:srgbClr val="004E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4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4692F5B7-B90A-C91A-2047-FDFD8FC7FE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49399" y="6465021"/>
            <a:ext cx="8182800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/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21549CC-0872-1288-C1D5-BD89CF9450AC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26561D24-BBBB-253A-7A51-A96C57F40E5B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A2B8DFB7-79B0-0439-C360-6941BF32E4D7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9298A01-26D5-77F0-1B44-28C8BBA32B5A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21EA26B0-23BA-7A00-892D-A1F326878E52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A5D3FC7E-9D3D-EB60-5F4A-AB0976EFEC60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068336B-339F-1776-3C0F-78C717AA59C8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48ABCE10-7A7F-1324-4D1D-7AD10D1042B1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FA92F67-A433-8731-5914-B14989A94311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504D71D0-6847-ADE8-467F-77206D5DE761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AB17545C-2653-11B9-6AAD-F2414CA88813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1D454EF4-1099-5940-A5D4-5F82D3172AE1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AB6D7EE-DAF5-E7EF-6D1E-0891469BD32B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E6DA982A-4819-86A4-B3E3-3820BE19C0E0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Прямоугольник: скругленные углы 51">
              <a:extLst>
                <a:ext uri="{FF2B5EF4-FFF2-40B4-BE49-F238E27FC236}">
                  <a16:creationId xmlns:a16="http://schemas.microsoft.com/office/drawing/2014/main" id="{4C7A1397-7A11-591D-AA68-55A9039699E9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9008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64568EE7-F81D-84C3-5AE6-8B77C2134C94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0BC0B63B-AFDA-54FE-3829-EC8AA6CFBAEB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2FE7B29-A123-EF1E-09DB-12AADC874FA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60" name="Рисунок 93">
              <a:extLst>
                <a:ext uri="{FF2B5EF4-FFF2-40B4-BE49-F238E27FC236}">
                  <a16:creationId xmlns:a16="http://schemas.microsoft.com/office/drawing/2014/main" id="{AA53B632-DD94-4453-746B-3AC3CCA27D0B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DE6F264-2180-A77B-E487-478DC7F970C2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2B9BFCAF-86CA-1244-E85A-F30E4AC766F2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64">
              <a:extLst>
                <a:ext uri="{FF2B5EF4-FFF2-40B4-BE49-F238E27FC236}">
                  <a16:creationId xmlns:a16="http://schemas.microsoft.com/office/drawing/2014/main" id="{860A63BB-781E-AEA8-4E5D-D35214A49880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65">
              <a:extLst>
                <a:ext uri="{FF2B5EF4-FFF2-40B4-BE49-F238E27FC236}">
                  <a16:creationId xmlns:a16="http://schemas.microsoft.com/office/drawing/2014/main" id="{09CABE96-EC03-3157-B363-C0896B3891CC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EF4B2147-300C-3BFA-81C6-8712BD20BD73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4EE10FC-9DA3-93DA-C40F-EE6AAC1DA6AC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580B6A99-E717-2740-36C4-A72DCF75745A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Прямоугольник: скругленные углы 16">
              <a:extLst>
                <a:ext uri="{FF2B5EF4-FFF2-40B4-BE49-F238E27FC236}">
                  <a16:creationId xmlns:a16="http://schemas.microsoft.com/office/drawing/2014/main" id="{8CC18F95-EA8B-20E0-9AED-F6279027B331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D236EB0-0368-AF7A-C5FA-BA1C74876D58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</p:grpSp>
      <p:sp>
        <p:nvSpPr>
          <p:cNvPr id="5" name="Объект 2">
            <a:extLst>
              <a:ext uri="{FF2B5EF4-FFF2-40B4-BE49-F238E27FC236}">
                <a16:creationId xmlns:a16="http://schemas.microsoft.com/office/drawing/2014/main" id="{9273FEED-185C-3EDE-5702-91BFF3386C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4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A9C77C2E-E1B8-8A5D-636C-B20627EF04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99" y="420493"/>
            <a:ext cx="10910888" cy="783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2000"/>
              </a:lnSpc>
              <a:defRPr sz="4400" spc="-30" baseline="0">
                <a:solidFill>
                  <a:schemeClr val="bg2"/>
                </a:solidFill>
              </a:defRPr>
            </a:lvl1pPr>
          </a:lstStyle>
          <a:p>
            <a:r>
              <a:rPr lang="ru-RU"/>
              <a:t>Заголовок слайда в 1 строку</a:t>
            </a:r>
          </a:p>
        </p:txBody>
      </p:sp>
      <p:sp>
        <p:nvSpPr>
          <p:cNvPr id="11" name="Рисунок 1">
            <a:extLst>
              <a:ext uri="{FF2B5EF4-FFF2-40B4-BE49-F238E27FC236}">
                <a16:creationId xmlns:a16="http://schemas.microsoft.com/office/drawing/2014/main" id="{ED08377C-4855-A16E-1C99-76608FF709F7}"/>
              </a:ext>
            </a:extLst>
          </p:cNvPr>
          <p:cNvSpPr/>
          <p:nvPr userDrawn="1"/>
        </p:nvSpPr>
        <p:spPr>
          <a:xfrm>
            <a:off x="640541" y="6472839"/>
            <a:ext cx="596000" cy="128865"/>
          </a:xfrm>
          <a:custGeom>
            <a:avLst/>
            <a:gdLst>
              <a:gd name="connsiteX0" fmla="*/ 64809 w 596000"/>
              <a:gd name="connsiteY0" fmla="*/ 0 h 128865"/>
              <a:gd name="connsiteX1" fmla="*/ 0 w 596000"/>
              <a:gd name="connsiteY1" fmla="*/ 64433 h 128865"/>
              <a:gd name="connsiteX2" fmla="*/ 64809 w 596000"/>
              <a:gd name="connsiteY2" fmla="*/ 128865 h 128865"/>
              <a:gd name="connsiteX3" fmla="*/ 129619 w 596000"/>
              <a:gd name="connsiteY3" fmla="*/ 64433 h 128865"/>
              <a:gd name="connsiteX4" fmla="*/ 64809 w 596000"/>
              <a:gd name="connsiteY4" fmla="*/ 0 h 128865"/>
              <a:gd name="connsiteX5" fmla="*/ 64809 w 596000"/>
              <a:gd name="connsiteY5" fmla="*/ 99096 h 128865"/>
              <a:gd name="connsiteX6" fmla="*/ 29944 w 596000"/>
              <a:gd name="connsiteY6" fmla="*/ 64433 h 128865"/>
              <a:gd name="connsiteX7" fmla="*/ 64809 w 596000"/>
              <a:gd name="connsiteY7" fmla="*/ 29769 h 128865"/>
              <a:gd name="connsiteX8" fmla="*/ 99675 w 596000"/>
              <a:gd name="connsiteY8" fmla="*/ 64433 h 128865"/>
              <a:gd name="connsiteX9" fmla="*/ 64809 w 596000"/>
              <a:gd name="connsiteY9" fmla="*/ 99096 h 128865"/>
              <a:gd name="connsiteX10" fmla="*/ 363835 w 596000"/>
              <a:gd name="connsiteY10" fmla="*/ 0 h 128865"/>
              <a:gd name="connsiteX11" fmla="*/ 272774 w 596000"/>
              <a:gd name="connsiteY11" fmla="*/ 64433 h 128865"/>
              <a:gd name="connsiteX12" fmla="*/ 363835 w 596000"/>
              <a:gd name="connsiteY12" fmla="*/ 128865 h 128865"/>
              <a:gd name="connsiteX13" fmla="*/ 454897 w 596000"/>
              <a:gd name="connsiteY13" fmla="*/ 64433 h 128865"/>
              <a:gd name="connsiteX14" fmla="*/ 363835 w 596000"/>
              <a:gd name="connsiteY14" fmla="*/ 0 h 128865"/>
              <a:gd name="connsiteX15" fmla="*/ 363835 w 596000"/>
              <a:gd name="connsiteY15" fmla="*/ 99096 h 128865"/>
              <a:gd name="connsiteX16" fmla="*/ 303127 w 596000"/>
              <a:gd name="connsiteY16" fmla="*/ 64840 h 128865"/>
              <a:gd name="connsiteX17" fmla="*/ 363835 w 596000"/>
              <a:gd name="connsiteY17" fmla="*/ 30585 h 128865"/>
              <a:gd name="connsiteX18" fmla="*/ 424541 w 596000"/>
              <a:gd name="connsiteY18" fmla="*/ 64840 h 128865"/>
              <a:gd name="connsiteX19" fmla="*/ 363835 w 596000"/>
              <a:gd name="connsiteY19" fmla="*/ 99096 h 128865"/>
              <a:gd name="connsiteX20" fmla="*/ 580822 w 596000"/>
              <a:gd name="connsiteY20" fmla="*/ 2855 h 128865"/>
              <a:gd name="connsiteX21" fmla="*/ 565644 w 596000"/>
              <a:gd name="connsiteY21" fmla="*/ 17943 h 128865"/>
              <a:gd name="connsiteX22" fmla="*/ 565644 w 596000"/>
              <a:gd name="connsiteY22" fmla="*/ 68511 h 128865"/>
              <a:gd name="connsiteX23" fmla="*/ 483610 w 596000"/>
              <a:gd name="connsiteY23" fmla="*/ 3670 h 128865"/>
              <a:gd name="connsiteX24" fmla="*/ 476635 w 596000"/>
              <a:gd name="connsiteY24" fmla="*/ 6933 h 128865"/>
              <a:gd name="connsiteX25" fmla="*/ 476635 w 596000"/>
              <a:gd name="connsiteY25" fmla="*/ 110922 h 128865"/>
              <a:gd name="connsiteX26" fmla="*/ 491813 w 596000"/>
              <a:gd name="connsiteY26" fmla="*/ 126010 h 128865"/>
              <a:gd name="connsiteX27" fmla="*/ 506991 w 596000"/>
              <a:gd name="connsiteY27" fmla="*/ 110922 h 128865"/>
              <a:gd name="connsiteX28" fmla="*/ 506991 w 596000"/>
              <a:gd name="connsiteY28" fmla="*/ 60762 h 128865"/>
              <a:gd name="connsiteX29" fmla="*/ 589025 w 596000"/>
              <a:gd name="connsiteY29" fmla="*/ 125603 h 128865"/>
              <a:gd name="connsiteX30" fmla="*/ 596000 w 596000"/>
              <a:gd name="connsiteY30" fmla="*/ 122340 h 128865"/>
              <a:gd name="connsiteX31" fmla="*/ 596000 w 596000"/>
              <a:gd name="connsiteY31" fmla="*/ 17943 h 128865"/>
              <a:gd name="connsiteX32" fmla="*/ 580822 w 596000"/>
              <a:gd name="connsiteY32" fmla="*/ 2855 h 128865"/>
              <a:gd name="connsiteX33" fmla="*/ 248983 w 596000"/>
              <a:gd name="connsiteY33" fmla="*/ 96241 h 128865"/>
              <a:gd name="connsiteX34" fmla="*/ 197299 w 596000"/>
              <a:gd name="connsiteY34" fmla="*/ 96241 h 128865"/>
              <a:gd name="connsiteX35" fmla="*/ 262929 w 596000"/>
              <a:gd name="connsiteY35" fmla="*/ 9787 h 128865"/>
              <a:gd name="connsiteX36" fmla="*/ 259648 w 596000"/>
              <a:gd name="connsiteY36" fmla="*/ 2855 h 128865"/>
              <a:gd name="connsiteX37" fmla="*/ 164484 w 596000"/>
              <a:gd name="connsiteY37" fmla="*/ 2855 h 128865"/>
              <a:gd name="connsiteX38" fmla="*/ 149308 w 596000"/>
              <a:gd name="connsiteY38" fmla="*/ 17943 h 128865"/>
              <a:gd name="connsiteX39" fmla="*/ 164484 w 596000"/>
              <a:gd name="connsiteY39" fmla="*/ 33032 h 128865"/>
              <a:gd name="connsiteX40" fmla="*/ 207554 w 596000"/>
              <a:gd name="connsiteY40" fmla="*/ 33032 h 128865"/>
              <a:gd name="connsiteX41" fmla="*/ 141514 w 596000"/>
              <a:gd name="connsiteY41" fmla="*/ 119486 h 128865"/>
              <a:gd name="connsiteX42" fmla="*/ 145206 w 596000"/>
              <a:gd name="connsiteY42" fmla="*/ 126418 h 128865"/>
              <a:gd name="connsiteX43" fmla="*/ 248983 w 596000"/>
              <a:gd name="connsiteY43" fmla="*/ 126418 h 128865"/>
              <a:gd name="connsiteX44" fmla="*/ 264160 w 596000"/>
              <a:gd name="connsiteY44" fmla="*/ 111330 h 128865"/>
              <a:gd name="connsiteX45" fmla="*/ 248983 w 596000"/>
              <a:gd name="connsiteY45" fmla="*/ 96241 h 128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96000" h="128865">
                <a:moveTo>
                  <a:pt x="64809" y="0"/>
                </a:moveTo>
                <a:cubicBezTo>
                  <a:pt x="29123" y="0"/>
                  <a:pt x="0" y="28954"/>
                  <a:pt x="0" y="64433"/>
                </a:cubicBezTo>
                <a:cubicBezTo>
                  <a:pt x="0" y="99911"/>
                  <a:pt x="29123" y="128865"/>
                  <a:pt x="64809" y="128865"/>
                </a:cubicBezTo>
                <a:cubicBezTo>
                  <a:pt x="100906" y="128865"/>
                  <a:pt x="129619" y="99911"/>
                  <a:pt x="129619" y="64433"/>
                </a:cubicBezTo>
                <a:cubicBezTo>
                  <a:pt x="129619" y="28954"/>
                  <a:pt x="100906" y="0"/>
                  <a:pt x="64809" y="0"/>
                </a:cubicBezTo>
                <a:close/>
                <a:moveTo>
                  <a:pt x="64809" y="99096"/>
                </a:moveTo>
                <a:cubicBezTo>
                  <a:pt x="45531" y="99096"/>
                  <a:pt x="29944" y="83599"/>
                  <a:pt x="29944" y="64433"/>
                </a:cubicBezTo>
                <a:cubicBezTo>
                  <a:pt x="29944" y="45266"/>
                  <a:pt x="45531" y="29769"/>
                  <a:pt x="64809" y="29769"/>
                </a:cubicBezTo>
                <a:cubicBezTo>
                  <a:pt x="84088" y="29769"/>
                  <a:pt x="99675" y="45266"/>
                  <a:pt x="99675" y="64433"/>
                </a:cubicBezTo>
                <a:cubicBezTo>
                  <a:pt x="99675" y="83599"/>
                  <a:pt x="84088" y="99096"/>
                  <a:pt x="64809" y="99096"/>
                </a:cubicBezTo>
                <a:close/>
                <a:moveTo>
                  <a:pt x="363835" y="0"/>
                </a:moveTo>
                <a:cubicBezTo>
                  <a:pt x="313382" y="0"/>
                  <a:pt x="272774" y="28954"/>
                  <a:pt x="272774" y="64433"/>
                </a:cubicBezTo>
                <a:cubicBezTo>
                  <a:pt x="272774" y="99911"/>
                  <a:pt x="313382" y="128865"/>
                  <a:pt x="363835" y="128865"/>
                </a:cubicBezTo>
                <a:cubicBezTo>
                  <a:pt x="414288" y="128865"/>
                  <a:pt x="454897" y="99911"/>
                  <a:pt x="454897" y="64433"/>
                </a:cubicBezTo>
                <a:cubicBezTo>
                  <a:pt x="454897" y="28954"/>
                  <a:pt x="413878" y="0"/>
                  <a:pt x="363835" y="0"/>
                </a:cubicBezTo>
                <a:close/>
                <a:moveTo>
                  <a:pt x="363835" y="99096"/>
                </a:moveTo>
                <a:cubicBezTo>
                  <a:pt x="328969" y="99096"/>
                  <a:pt x="303127" y="80744"/>
                  <a:pt x="303127" y="64840"/>
                </a:cubicBezTo>
                <a:cubicBezTo>
                  <a:pt x="303127" y="48936"/>
                  <a:pt x="328969" y="30585"/>
                  <a:pt x="363835" y="30585"/>
                </a:cubicBezTo>
                <a:cubicBezTo>
                  <a:pt x="398701" y="30585"/>
                  <a:pt x="424541" y="48936"/>
                  <a:pt x="424541" y="64840"/>
                </a:cubicBezTo>
                <a:cubicBezTo>
                  <a:pt x="424541" y="80744"/>
                  <a:pt x="398290" y="99096"/>
                  <a:pt x="363835" y="99096"/>
                </a:cubicBezTo>
                <a:close/>
                <a:moveTo>
                  <a:pt x="580822" y="2855"/>
                </a:moveTo>
                <a:cubicBezTo>
                  <a:pt x="572619" y="2855"/>
                  <a:pt x="565644" y="9787"/>
                  <a:pt x="565644" y="17943"/>
                </a:cubicBezTo>
                <a:lnTo>
                  <a:pt x="565644" y="68511"/>
                </a:lnTo>
                <a:lnTo>
                  <a:pt x="483610" y="3670"/>
                </a:lnTo>
                <a:cubicBezTo>
                  <a:pt x="480738" y="1223"/>
                  <a:pt x="476635" y="3262"/>
                  <a:pt x="476635" y="6933"/>
                </a:cubicBezTo>
                <a:lnTo>
                  <a:pt x="476635" y="110922"/>
                </a:lnTo>
                <a:cubicBezTo>
                  <a:pt x="476635" y="119078"/>
                  <a:pt x="483610" y="126010"/>
                  <a:pt x="491813" y="126010"/>
                </a:cubicBezTo>
                <a:cubicBezTo>
                  <a:pt x="500016" y="126010"/>
                  <a:pt x="506991" y="119078"/>
                  <a:pt x="506991" y="110922"/>
                </a:cubicBezTo>
                <a:lnTo>
                  <a:pt x="506991" y="60762"/>
                </a:lnTo>
                <a:lnTo>
                  <a:pt x="589025" y="125603"/>
                </a:lnTo>
                <a:cubicBezTo>
                  <a:pt x="591897" y="128050"/>
                  <a:pt x="596000" y="126010"/>
                  <a:pt x="596000" y="122340"/>
                </a:cubicBezTo>
                <a:lnTo>
                  <a:pt x="596000" y="17943"/>
                </a:lnTo>
                <a:cubicBezTo>
                  <a:pt x="596000" y="9787"/>
                  <a:pt x="589025" y="2855"/>
                  <a:pt x="580822" y="2855"/>
                </a:cubicBezTo>
                <a:close/>
                <a:moveTo>
                  <a:pt x="248983" y="96241"/>
                </a:moveTo>
                <a:lnTo>
                  <a:pt x="197299" y="96241"/>
                </a:lnTo>
                <a:lnTo>
                  <a:pt x="262929" y="9787"/>
                </a:lnTo>
                <a:cubicBezTo>
                  <a:pt x="264980" y="6933"/>
                  <a:pt x="262929" y="2855"/>
                  <a:pt x="259648" y="2855"/>
                </a:cubicBezTo>
                <a:lnTo>
                  <a:pt x="164484" y="2855"/>
                </a:lnTo>
                <a:cubicBezTo>
                  <a:pt x="156281" y="2855"/>
                  <a:pt x="149308" y="9787"/>
                  <a:pt x="149308" y="17943"/>
                </a:cubicBezTo>
                <a:cubicBezTo>
                  <a:pt x="149308" y="26099"/>
                  <a:pt x="156281" y="33032"/>
                  <a:pt x="164484" y="33032"/>
                </a:cubicBezTo>
                <a:lnTo>
                  <a:pt x="207554" y="33032"/>
                </a:lnTo>
                <a:lnTo>
                  <a:pt x="141514" y="119486"/>
                </a:lnTo>
                <a:cubicBezTo>
                  <a:pt x="139463" y="122340"/>
                  <a:pt x="141514" y="126418"/>
                  <a:pt x="145206" y="126418"/>
                </a:cubicBezTo>
                <a:lnTo>
                  <a:pt x="248983" y="126418"/>
                </a:lnTo>
                <a:cubicBezTo>
                  <a:pt x="257186" y="126418"/>
                  <a:pt x="264160" y="119486"/>
                  <a:pt x="264160" y="111330"/>
                </a:cubicBezTo>
                <a:cubicBezTo>
                  <a:pt x="264160" y="103174"/>
                  <a:pt x="257186" y="96241"/>
                  <a:pt x="248983" y="96241"/>
                </a:cubicBezTo>
                <a:close/>
              </a:path>
            </a:pathLst>
          </a:custGeom>
          <a:solidFill>
            <a:schemeClr val="bg1"/>
          </a:solidFill>
          <a:ln w="399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3867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_colored">
    <p:bg>
      <p:bgPr>
        <a:solidFill>
          <a:srgbClr val="004E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8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/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21549CC-0872-1288-C1D5-BD89CF9450AC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26561D24-BBBB-253A-7A51-A96C57F40E5B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A2B8DFB7-79B0-0439-C360-6941BF32E4D7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9298A01-26D5-77F0-1B44-28C8BBA32B5A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21EA26B0-23BA-7A00-892D-A1F326878E52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A5D3FC7E-9D3D-EB60-5F4A-AB0976EFEC60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068336B-339F-1776-3C0F-78C717AA59C8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48ABCE10-7A7F-1324-4D1D-7AD10D1042B1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FA92F67-A433-8731-5914-B14989A94311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504D71D0-6847-ADE8-467F-77206D5DE761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AB17545C-2653-11B9-6AAD-F2414CA88813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1D454EF4-1099-5940-A5D4-5F82D3172AE1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AB6D7EE-DAF5-E7EF-6D1E-0891469BD32B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E6DA982A-4819-86A4-B3E3-3820BE19C0E0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Прямоугольник: скругленные углы 51">
              <a:extLst>
                <a:ext uri="{FF2B5EF4-FFF2-40B4-BE49-F238E27FC236}">
                  <a16:creationId xmlns:a16="http://schemas.microsoft.com/office/drawing/2014/main" id="{4C7A1397-7A11-591D-AA68-55A9039699E9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9008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64568EE7-F81D-84C3-5AE6-8B77C2134C94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0BC0B63B-AFDA-54FE-3829-EC8AA6CFBAEB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2FE7B29-A123-EF1E-09DB-12AADC874FA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60" name="Рисунок 93">
              <a:extLst>
                <a:ext uri="{FF2B5EF4-FFF2-40B4-BE49-F238E27FC236}">
                  <a16:creationId xmlns:a16="http://schemas.microsoft.com/office/drawing/2014/main" id="{AA53B632-DD94-4453-746B-3AC3CCA27D0B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DE6F264-2180-A77B-E487-478DC7F970C2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2B9BFCAF-86CA-1244-E85A-F30E4AC766F2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64">
              <a:extLst>
                <a:ext uri="{FF2B5EF4-FFF2-40B4-BE49-F238E27FC236}">
                  <a16:creationId xmlns:a16="http://schemas.microsoft.com/office/drawing/2014/main" id="{860A63BB-781E-AEA8-4E5D-D35214A49880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65">
              <a:extLst>
                <a:ext uri="{FF2B5EF4-FFF2-40B4-BE49-F238E27FC236}">
                  <a16:creationId xmlns:a16="http://schemas.microsoft.com/office/drawing/2014/main" id="{09CABE96-EC03-3157-B363-C0896B3891CC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EF4B2147-300C-3BFA-81C6-8712BD20BD73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4EE10FC-9DA3-93DA-C40F-EE6AAC1DA6AC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580B6A99-E717-2740-36C4-A72DCF75745A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Прямоугольник: скругленные углы 16">
              <a:extLst>
                <a:ext uri="{FF2B5EF4-FFF2-40B4-BE49-F238E27FC236}">
                  <a16:creationId xmlns:a16="http://schemas.microsoft.com/office/drawing/2014/main" id="{8CC18F95-EA8B-20E0-9AED-F6279027B331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D236EB0-0368-AF7A-C5FA-BA1C74876D58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6292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Read 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842F427E-A7B0-ED26-5BAD-60F49256F445}"/>
              </a:ext>
            </a:extLst>
          </p:cNvPr>
          <p:cNvSpPr/>
          <p:nvPr/>
        </p:nvSpPr>
        <p:spPr>
          <a:xfrm>
            <a:off x="8769966" y="411163"/>
            <a:ext cx="2780684" cy="3570453"/>
          </a:xfrm>
          <a:prstGeom prst="roundRect">
            <a:avLst>
              <a:gd name="adj" fmla="val 5689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0C473BD7-ACD7-EB2B-FB86-6B31E90DB1BC}"/>
              </a:ext>
            </a:extLst>
          </p:cNvPr>
          <p:cNvSpPr/>
          <p:nvPr/>
        </p:nvSpPr>
        <p:spPr>
          <a:xfrm>
            <a:off x="638969" y="1721762"/>
            <a:ext cx="3636962" cy="2552284"/>
          </a:xfrm>
          <a:prstGeom prst="roundRect">
            <a:avLst>
              <a:gd name="adj" fmla="val 536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5" name="Рисунок 7">
            <a:extLst>
              <a:ext uri="{FF2B5EF4-FFF2-40B4-BE49-F238E27FC236}">
                <a16:creationId xmlns:a16="http://schemas.microsoft.com/office/drawing/2014/main" id="{D3FB9A76-953C-033C-61F9-0AC886567100}"/>
              </a:ext>
            </a:extLst>
          </p:cNvPr>
          <p:cNvSpPr/>
          <p:nvPr/>
        </p:nvSpPr>
        <p:spPr>
          <a:xfrm>
            <a:off x="3983413" y="1943086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49C6957-2D3E-DC29-1E26-B13045C7740D}"/>
              </a:ext>
            </a:extLst>
          </p:cNvPr>
          <p:cNvSpPr txBox="1"/>
          <p:nvPr/>
        </p:nvSpPr>
        <p:spPr>
          <a:xfrm>
            <a:off x="851401" y="1908000"/>
            <a:ext cx="2741705" cy="2532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>
                <a:solidFill>
                  <a:schemeClr val="accent1"/>
                </a:solidFill>
              </a:rPr>
              <a:t>И шрифтом единым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217C2A-0738-0EEE-9E4D-8690A4CD65E8}"/>
              </a:ext>
            </a:extLst>
          </p:cNvPr>
          <p:cNvSpPr txBox="1"/>
          <p:nvPr/>
        </p:nvSpPr>
        <p:spPr>
          <a:xfrm>
            <a:off x="835809" y="2582400"/>
            <a:ext cx="3092566" cy="202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1200">
                <a:latin typeface="+mj-lt"/>
              </a:rPr>
              <a:t>Arial Black </a:t>
            </a:r>
            <a:r>
              <a:rPr lang="ru-RU" sz="1200" spc="-30"/>
              <a:t>— заголовки и крупные цифры</a:t>
            </a:r>
            <a:r>
              <a:rPr lang="en-US" sz="1200" spc="-30"/>
              <a:t>.</a:t>
            </a:r>
            <a:endParaRPr lang="ru-RU" sz="1200" spc="-3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00CEFE1-B494-61DA-7233-8F84B2D4A63F}"/>
              </a:ext>
            </a:extLst>
          </p:cNvPr>
          <p:cNvSpPr txBox="1"/>
          <p:nvPr/>
        </p:nvSpPr>
        <p:spPr>
          <a:xfrm>
            <a:off x="835809" y="2805095"/>
            <a:ext cx="1985972" cy="202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1200"/>
              <a:t>Arial</a:t>
            </a:r>
            <a:r>
              <a:rPr lang="ru-RU" sz="1200"/>
              <a:t> </a:t>
            </a:r>
            <a:r>
              <a:rPr lang="ru-RU" sz="1200" spc="-30"/>
              <a:t>— любой другой текст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796C81-ACEB-6FF7-3F09-50647F7191D9}"/>
              </a:ext>
            </a:extLst>
          </p:cNvPr>
          <p:cNvSpPr txBox="1"/>
          <p:nvPr/>
        </p:nvSpPr>
        <p:spPr>
          <a:xfrm>
            <a:off x="851401" y="2291808"/>
            <a:ext cx="3339825" cy="202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/>
              <a:t>Настроили универсальные шрифты*</a:t>
            </a:r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6104178C-EF19-C749-314C-B1E58E8E5C6D}"/>
              </a:ext>
            </a:extLst>
          </p:cNvPr>
          <p:cNvSpPr/>
          <p:nvPr/>
        </p:nvSpPr>
        <p:spPr>
          <a:xfrm>
            <a:off x="1023002" y="3108184"/>
            <a:ext cx="728387" cy="570495"/>
          </a:xfrm>
          <a:prstGeom prst="roundRect">
            <a:avLst>
              <a:gd name="adj" fmla="val 8253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900">
              <a:solidFill>
                <a:schemeClr val="tx2"/>
              </a:solidFill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3F3BD349-C9D0-48CC-C2A2-95B33D646EDF}"/>
              </a:ext>
            </a:extLst>
          </p:cNvPr>
          <p:cNvSpPr/>
          <p:nvPr/>
        </p:nvSpPr>
        <p:spPr>
          <a:xfrm>
            <a:off x="835809" y="3108185"/>
            <a:ext cx="147470" cy="242152"/>
          </a:xfrm>
          <a:prstGeom prst="roundRect">
            <a:avLst>
              <a:gd name="adj" fmla="val 2024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30B6D2-C461-1492-330C-20FD7AE1013F}"/>
              </a:ext>
            </a:extLst>
          </p:cNvPr>
          <p:cNvSpPr txBox="1"/>
          <p:nvPr/>
        </p:nvSpPr>
        <p:spPr>
          <a:xfrm>
            <a:off x="1844353" y="3115599"/>
            <a:ext cx="2235410" cy="54717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spc="-30"/>
              <a:t>Слева от слайда добавили подсказки по подбору размера текста в разных ситуациях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11821C8-FA09-F9AC-8D01-112C77DF8540}"/>
              </a:ext>
            </a:extLst>
          </p:cNvPr>
          <p:cNvSpPr txBox="1"/>
          <p:nvPr/>
        </p:nvSpPr>
        <p:spPr>
          <a:xfrm>
            <a:off x="851401" y="3789831"/>
            <a:ext cx="2916590" cy="334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000">
                <a:solidFill>
                  <a:schemeClr val="accent6">
                    <a:lumMod val="75000"/>
                  </a:schemeClr>
                </a:solidFill>
              </a:rPr>
              <a:t>* По правилам бренда фирменный шрифт </a:t>
            </a:r>
            <a:r>
              <a:rPr lang="en-US" sz="1000">
                <a:solidFill>
                  <a:schemeClr val="accent6">
                    <a:lumMod val="75000"/>
                  </a:schemeClr>
                </a:solidFill>
              </a:rPr>
              <a:t>Ozon GT </a:t>
            </a:r>
            <a:r>
              <a:rPr lang="en-US" sz="1000" err="1">
                <a:solidFill>
                  <a:schemeClr val="accent6">
                    <a:lumMod val="75000"/>
                  </a:schemeClr>
                </a:solidFill>
              </a:rPr>
              <a:t>Eesti</a:t>
            </a:r>
            <a:r>
              <a:rPr lang="en-US" sz="100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sz="1000">
                <a:solidFill>
                  <a:schemeClr val="accent6">
                    <a:lumMod val="75000"/>
                  </a:schemeClr>
                </a:solidFill>
              </a:rPr>
              <a:t>в презентациях не используется.</a:t>
            </a:r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C4AD015F-EE11-7D88-0C79-B09991610136}"/>
              </a:ext>
            </a:extLst>
          </p:cNvPr>
          <p:cNvSpPr/>
          <p:nvPr/>
        </p:nvSpPr>
        <p:spPr>
          <a:xfrm>
            <a:off x="639763" y="4535412"/>
            <a:ext cx="3636962" cy="1734939"/>
          </a:xfrm>
          <a:prstGeom prst="roundRect">
            <a:avLst>
              <a:gd name="adj" fmla="val 1039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15" name="Рисунок 7">
            <a:extLst>
              <a:ext uri="{FF2B5EF4-FFF2-40B4-BE49-F238E27FC236}">
                <a16:creationId xmlns:a16="http://schemas.microsoft.com/office/drawing/2014/main" id="{FA43BDE8-D7A0-0C27-C6CD-029C50B868D5}"/>
              </a:ext>
            </a:extLst>
          </p:cNvPr>
          <p:cNvSpPr/>
          <p:nvPr/>
        </p:nvSpPr>
        <p:spPr>
          <a:xfrm>
            <a:off x="3984207" y="4656592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30F08A5-A097-D2DF-E5ED-50245BA1511D}"/>
              </a:ext>
            </a:extLst>
          </p:cNvPr>
          <p:cNvSpPr txBox="1"/>
          <p:nvPr/>
        </p:nvSpPr>
        <p:spPr>
          <a:xfrm>
            <a:off x="852195" y="4682793"/>
            <a:ext cx="2741705" cy="2532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>
                <a:solidFill>
                  <a:schemeClr val="accent1"/>
                </a:solidFill>
              </a:rPr>
              <a:t>Классные таблицы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3B8DA76D-193B-C485-5922-0905FBE36CC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7406" y="5041239"/>
            <a:ext cx="1336787" cy="596097"/>
          </a:xfrm>
          <a:prstGeom prst="roundRect">
            <a:avLst>
              <a:gd name="adj" fmla="val 8135"/>
            </a:avLst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6016BEF-43F4-C513-6E8D-2D3F43E850C9}"/>
              </a:ext>
            </a:extLst>
          </p:cNvPr>
          <p:cNvSpPr txBox="1"/>
          <p:nvPr/>
        </p:nvSpPr>
        <p:spPr>
          <a:xfrm>
            <a:off x="2310490" y="5041239"/>
            <a:ext cx="1737427" cy="8206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spc="-30"/>
              <a:t>Настроили специальный стиль для работы </a:t>
            </a:r>
            <a:br>
              <a:rPr lang="ru-RU" sz="1200" spc="-30"/>
            </a:br>
            <a:r>
              <a:rPr lang="ru-RU" sz="1200" spc="-30"/>
              <a:t>с таблицами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A59D513-03D7-E112-73C4-AEF053F1B8A3}"/>
              </a:ext>
            </a:extLst>
          </p:cNvPr>
          <p:cNvSpPr txBox="1"/>
          <p:nvPr/>
        </p:nvSpPr>
        <p:spPr>
          <a:xfrm>
            <a:off x="852195" y="5727560"/>
            <a:ext cx="3277239" cy="404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/>
              <a:t>Настраивай вид таблицы в несколько кликов в разделе «Конструктор таблиц»</a:t>
            </a: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D17B9CA6-6150-A43F-D409-1A3029BF4C87}"/>
              </a:ext>
            </a:extLst>
          </p:cNvPr>
          <p:cNvSpPr/>
          <p:nvPr/>
        </p:nvSpPr>
        <p:spPr>
          <a:xfrm>
            <a:off x="835809" y="3382445"/>
            <a:ext cx="147470" cy="173301"/>
          </a:xfrm>
          <a:prstGeom prst="roundRect">
            <a:avLst>
              <a:gd name="adj" fmla="val 1886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E0C63BED-38C1-7FE4-2365-63A32A9AAC60}"/>
              </a:ext>
            </a:extLst>
          </p:cNvPr>
          <p:cNvSpPr/>
          <p:nvPr/>
        </p:nvSpPr>
        <p:spPr>
          <a:xfrm>
            <a:off x="835809" y="3587854"/>
            <a:ext cx="147470" cy="99462"/>
          </a:xfrm>
          <a:prstGeom prst="roundRect">
            <a:avLst>
              <a:gd name="adj" fmla="val 2991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24" name="Прямоугольник: скругленные углы 23">
            <a:extLst>
              <a:ext uri="{FF2B5EF4-FFF2-40B4-BE49-F238E27FC236}">
                <a16:creationId xmlns:a16="http://schemas.microsoft.com/office/drawing/2014/main" id="{DB56BD41-1107-8D34-A153-D854D92E8037}"/>
              </a:ext>
            </a:extLst>
          </p:cNvPr>
          <p:cNvSpPr/>
          <p:nvPr/>
        </p:nvSpPr>
        <p:spPr>
          <a:xfrm>
            <a:off x="4542838" y="411163"/>
            <a:ext cx="3961015" cy="5851525"/>
          </a:xfrm>
          <a:prstGeom prst="roundRect">
            <a:avLst>
              <a:gd name="adj" fmla="val 5112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25" name="Рисунок 7">
            <a:extLst>
              <a:ext uri="{FF2B5EF4-FFF2-40B4-BE49-F238E27FC236}">
                <a16:creationId xmlns:a16="http://schemas.microsoft.com/office/drawing/2014/main" id="{BE35B28F-D3E3-8C7F-F57E-6C61167D7222}"/>
              </a:ext>
            </a:extLst>
          </p:cNvPr>
          <p:cNvSpPr/>
          <p:nvPr/>
        </p:nvSpPr>
        <p:spPr>
          <a:xfrm>
            <a:off x="8208625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5283F07-2266-9262-3F8F-5F5E101E6F15}"/>
              </a:ext>
            </a:extLst>
          </p:cNvPr>
          <p:cNvSpPr txBox="1"/>
          <p:nvPr/>
        </p:nvSpPr>
        <p:spPr>
          <a:xfrm>
            <a:off x="4754328" y="587649"/>
            <a:ext cx="2741705" cy="2532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>
                <a:solidFill>
                  <a:schemeClr val="accent1"/>
                </a:solidFill>
              </a:rPr>
              <a:t>Настройся на цвет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7FB979E-BD31-1A6E-B7BA-8159F9C45488}"/>
              </a:ext>
            </a:extLst>
          </p:cNvPr>
          <p:cNvSpPr txBox="1"/>
          <p:nvPr/>
        </p:nvSpPr>
        <p:spPr>
          <a:xfrm>
            <a:off x="4754328" y="875467"/>
            <a:ext cx="3339825" cy="3957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/>
              <a:t>Подобрали цвета для разных задач </a:t>
            </a:r>
            <a:br>
              <a:rPr lang="ru-RU" sz="1200"/>
            </a:br>
            <a:r>
              <a:rPr lang="ru-RU" sz="1200"/>
              <a:t>и элементов и вшили их в шаблон</a:t>
            </a: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0C008694-8165-E8E2-7A8D-4E9F897E41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46894" y="1316353"/>
            <a:ext cx="1563441" cy="2330494"/>
          </a:xfrm>
          <a:prstGeom prst="rect">
            <a:avLst/>
          </a:prstGeom>
        </p:spPr>
      </p:pic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A6DCECD0-D935-CF3E-6D0B-AAF9A3FAA344}"/>
              </a:ext>
            </a:extLst>
          </p:cNvPr>
          <p:cNvSpPr/>
          <p:nvPr/>
        </p:nvSpPr>
        <p:spPr>
          <a:xfrm>
            <a:off x="4767556" y="1830194"/>
            <a:ext cx="128588" cy="129930"/>
          </a:xfrm>
          <a:prstGeom prst="roundRect">
            <a:avLst/>
          </a:prstGeom>
          <a:solidFill>
            <a:schemeClr val="accent6">
              <a:alpha val="10000"/>
            </a:schemeClr>
          </a:solidFill>
          <a:ln w="6350">
            <a:solidFill>
              <a:srgbClr val="10C4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8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0" name="Прямоугольник: скругленные углы 29">
            <a:extLst>
              <a:ext uri="{FF2B5EF4-FFF2-40B4-BE49-F238E27FC236}">
                <a16:creationId xmlns:a16="http://schemas.microsoft.com/office/drawing/2014/main" id="{C8706222-31CC-9F5F-E013-0BBE35934D54}"/>
              </a:ext>
            </a:extLst>
          </p:cNvPr>
          <p:cNvSpPr/>
          <p:nvPr/>
        </p:nvSpPr>
        <p:spPr>
          <a:xfrm>
            <a:off x="4906548" y="1830194"/>
            <a:ext cx="128588" cy="129930"/>
          </a:xfrm>
          <a:prstGeom prst="roundRect">
            <a:avLst/>
          </a:prstGeom>
          <a:solidFill>
            <a:schemeClr val="accent6">
              <a:alpha val="10000"/>
            </a:schemeClr>
          </a:solidFill>
          <a:ln w="6350">
            <a:solidFill>
              <a:srgbClr val="10C4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8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1" name="Прямоугольник: скругленные углы 30">
            <a:extLst>
              <a:ext uri="{FF2B5EF4-FFF2-40B4-BE49-F238E27FC236}">
                <a16:creationId xmlns:a16="http://schemas.microsoft.com/office/drawing/2014/main" id="{509C4CD0-5658-4B4D-9876-9BDC41BD413B}"/>
              </a:ext>
            </a:extLst>
          </p:cNvPr>
          <p:cNvSpPr/>
          <p:nvPr/>
        </p:nvSpPr>
        <p:spPr>
          <a:xfrm>
            <a:off x="5346494" y="1830194"/>
            <a:ext cx="555297" cy="129930"/>
          </a:xfrm>
          <a:prstGeom prst="roundRect">
            <a:avLst/>
          </a:prstGeom>
          <a:solidFill>
            <a:schemeClr val="tx1">
              <a:alpha val="17000"/>
            </a:schemeClr>
          </a:solidFill>
          <a:ln w="6350">
            <a:solidFill>
              <a:srgbClr val="10C4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r>
              <a:rPr lang="ru-RU" sz="8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2" name="Прямоугольник: скругленные углы 31">
            <a:extLst>
              <a:ext uri="{FF2B5EF4-FFF2-40B4-BE49-F238E27FC236}">
                <a16:creationId xmlns:a16="http://schemas.microsoft.com/office/drawing/2014/main" id="{07E7894A-349A-5D5C-6330-CB7710037BDF}"/>
              </a:ext>
            </a:extLst>
          </p:cNvPr>
          <p:cNvSpPr/>
          <p:nvPr/>
        </p:nvSpPr>
        <p:spPr>
          <a:xfrm>
            <a:off x="6052757" y="2052754"/>
            <a:ext cx="128588" cy="129930"/>
          </a:xfrm>
          <a:prstGeom prst="roundRect">
            <a:avLst/>
          </a:prstGeom>
          <a:solidFill>
            <a:schemeClr val="accent6">
              <a:alpha val="10000"/>
            </a:schemeClr>
          </a:solidFill>
          <a:ln w="6350">
            <a:solidFill>
              <a:srgbClr val="10C4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r>
              <a:rPr lang="ru-RU" sz="800" b="1">
                <a:solidFill>
                  <a:schemeClr val="tx1"/>
                </a:solidFill>
              </a:rPr>
              <a:t>6</a:t>
            </a:r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22A55104-6836-E9B1-3BCE-E75784F82444}"/>
              </a:ext>
            </a:extLst>
          </p:cNvPr>
          <p:cNvGrpSpPr/>
          <p:nvPr/>
        </p:nvGrpSpPr>
        <p:grpSpPr>
          <a:xfrm>
            <a:off x="4776934" y="3180865"/>
            <a:ext cx="1506353" cy="447322"/>
            <a:chOff x="4776934" y="3171767"/>
            <a:chExt cx="1506353" cy="447322"/>
          </a:xfrm>
        </p:grpSpPr>
        <p:cxnSp>
          <p:nvCxnSpPr>
            <p:cNvPr id="35" name="Прямая соединительная линия 34">
              <a:extLst>
                <a:ext uri="{FF2B5EF4-FFF2-40B4-BE49-F238E27FC236}">
                  <a16:creationId xmlns:a16="http://schemas.microsoft.com/office/drawing/2014/main" id="{64A34720-A647-A21D-C797-B1B07FAE24EA}"/>
                </a:ext>
              </a:extLst>
            </p:cNvPr>
            <p:cNvCxnSpPr>
              <a:cxnSpLocks/>
            </p:cNvCxnSpPr>
            <p:nvPr/>
          </p:nvCxnSpPr>
          <p:spPr>
            <a:xfrm>
              <a:off x="4776934" y="3171767"/>
              <a:ext cx="1506353" cy="447322"/>
            </a:xfrm>
            <a:prstGeom prst="line">
              <a:avLst/>
            </a:prstGeom>
            <a:ln w="28575" cap="rnd">
              <a:solidFill>
                <a:srgbClr val="F53C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Прямая соединительная линия 35">
              <a:extLst>
                <a:ext uri="{FF2B5EF4-FFF2-40B4-BE49-F238E27FC236}">
                  <a16:creationId xmlns:a16="http://schemas.microsoft.com/office/drawing/2014/main" id="{ABA02359-E131-EC74-AFE5-A384B9139F3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76934" y="3171767"/>
              <a:ext cx="1506353" cy="447322"/>
            </a:xfrm>
            <a:prstGeom prst="line">
              <a:avLst/>
            </a:prstGeom>
            <a:ln w="28575" cap="rnd">
              <a:solidFill>
                <a:srgbClr val="F53C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Прямоугольник: скругленные углы 36">
            <a:extLst>
              <a:ext uri="{FF2B5EF4-FFF2-40B4-BE49-F238E27FC236}">
                <a16:creationId xmlns:a16="http://schemas.microsoft.com/office/drawing/2014/main" id="{1FFAC3C6-D187-C758-85E3-B3011039AF25}"/>
              </a:ext>
            </a:extLst>
          </p:cNvPr>
          <p:cNvSpPr/>
          <p:nvPr userDrawn="1"/>
        </p:nvSpPr>
        <p:spPr>
          <a:xfrm>
            <a:off x="4906548" y="2489864"/>
            <a:ext cx="128588" cy="129930"/>
          </a:xfrm>
          <a:prstGeom prst="roundRect">
            <a:avLst/>
          </a:prstGeom>
          <a:solidFill>
            <a:schemeClr val="accent6">
              <a:alpha val="10000"/>
            </a:schemeClr>
          </a:solidFill>
          <a:ln w="6350">
            <a:solidFill>
              <a:srgbClr val="10C4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r>
              <a:rPr lang="ru-RU" sz="8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0599937-AD07-1D9A-9C7A-C9332990F130}"/>
              </a:ext>
            </a:extLst>
          </p:cNvPr>
          <p:cNvSpPr txBox="1"/>
          <p:nvPr/>
        </p:nvSpPr>
        <p:spPr>
          <a:xfrm>
            <a:off x="6446251" y="1591086"/>
            <a:ext cx="1846641" cy="20280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2563" indent="-182563" algn="l">
              <a:spcAft>
                <a:spcPts val="600"/>
              </a:spcAft>
              <a:buAutoNum type="arabicPeriod"/>
            </a:pPr>
            <a:r>
              <a:rPr lang="ru-RU" sz="1200"/>
              <a:t>Цвет фона светлой темы.</a:t>
            </a:r>
          </a:p>
          <a:p>
            <a:pPr marL="182563" indent="-182563" algn="l">
              <a:spcAft>
                <a:spcPts val="600"/>
              </a:spcAft>
              <a:buAutoNum type="arabicPeriod"/>
            </a:pPr>
            <a:r>
              <a:rPr lang="ru-RU" sz="1200"/>
              <a:t>Цвет текста для светлой темы.</a:t>
            </a:r>
          </a:p>
          <a:p>
            <a:pPr algn="l">
              <a:spcAft>
                <a:spcPts val="600"/>
              </a:spcAft>
            </a:pPr>
            <a:r>
              <a:rPr lang="ru-RU" sz="1000">
                <a:solidFill>
                  <a:schemeClr val="accent6">
                    <a:lumMod val="75000"/>
                  </a:schemeClr>
                </a:solidFill>
              </a:rPr>
              <a:t>Для тёмной — вторая </a:t>
            </a:r>
            <a:br>
              <a:rPr lang="ru-RU" sz="1000">
                <a:solidFill>
                  <a:schemeClr val="accent6">
                    <a:lumMod val="75000"/>
                  </a:schemeClr>
                </a:solidFill>
              </a:rPr>
            </a:br>
            <a:r>
              <a:rPr lang="ru-RU" sz="1000">
                <a:solidFill>
                  <a:schemeClr val="accent6">
                    <a:lumMod val="75000"/>
                  </a:schemeClr>
                </a:solidFill>
              </a:rPr>
              <a:t>пара цветов справа.</a:t>
            </a:r>
          </a:p>
          <a:p>
            <a:pPr marL="182563" indent="-182563" algn="l">
              <a:spcAft>
                <a:spcPts val="600"/>
              </a:spcAft>
              <a:buFont typeface="+mj-lt"/>
              <a:buAutoNum type="arabicPeriod" startAt="3"/>
            </a:pPr>
            <a:r>
              <a:rPr lang="ru-RU" sz="1200"/>
              <a:t>Основные акцентные цвета.</a:t>
            </a:r>
          </a:p>
          <a:p>
            <a:pPr marL="182563" indent="-182563" algn="l">
              <a:spcAft>
                <a:spcPts val="600"/>
              </a:spcAft>
              <a:buFont typeface="+mj-lt"/>
              <a:buAutoNum type="arabicPeriod" startAt="3"/>
            </a:pPr>
            <a:r>
              <a:rPr lang="ru-RU" sz="1200"/>
              <a:t>Цвет для светлых больших плашек.</a:t>
            </a:r>
          </a:p>
          <a:p>
            <a:pPr marL="228600" indent="-228600" algn="l">
              <a:spcAft>
                <a:spcPts val="600"/>
              </a:spcAft>
              <a:buFont typeface="+mj-lt"/>
              <a:buAutoNum type="arabicPeriod" startAt="3"/>
            </a:pPr>
            <a:endParaRPr lang="ru-RU" sz="1200"/>
          </a:p>
        </p:txBody>
      </p:sp>
      <p:sp>
        <p:nvSpPr>
          <p:cNvPr id="39" name="Прямоугольник: скругленные углы 38">
            <a:extLst>
              <a:ext uri="{FF2B5EF4-FFF2-40B4-BE49-F238E27FC236}">
                <a16:creationId xmlns:a16="http://schemas.microsoft.com/office/drawing/2014/main" id="{32A14937-912C-D974-643D-B129AF40AE78}"/>
              </a:ext>
            </a:extLst>
          </p:cNvPr>
          <p:cNvSpPr/>
          <p:nvPr/>
        </p:nvSpPr>
        <p:spPr>
          <a:xfrm>
            <a:off x="5912980" y="1830194"/>
            <a:ext cx="128588" cy="129930"/>
          </a:xfrm>
          <a:prstGeom prst="roundRect">
            <a:avLst/>
          </a:prstGeom>
          <a:solidFill>
            <a:schemeClr val="accent6">
              <a:alpha val="10000"/>
            </a:schemeClr>
          </a:solidFill>
          <a:ln w="6350">
            <a:solidFill>
              <a:srgbClr val="10C4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r>
              <a:rPr lang="ru-RU" sz="800" b="1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40" name="Прямоугольник: скругленные углы 39">
            <a:extLst>
              <a:ext uri="{FF2B5EF4-FFF2-40B4-BE49-F238E27FC236}">
                <a16:creationId xmlns:a16="http://schemas.microsoft.com/office/drawing/2014/main" id="{288F5587-AEBD-C716-689A-DE916153F99E}"/>
              </a:ext>
            </a:extLst>
          </p:cNvPr>
          <p:cNvSpPr/>
          <p:nvPr/>
        </p:nvSpPr>
        <p:spPr>
          <a:xfrm>
            <a:off x="6052757" y="1830194"/>
            <a:ext cx="128588" cy="129930"/>
          </a:xfrm>
          <a:prstGeom prst="roundRect">
            <a:avLst/>
          </a:prstGeom>
          <a:solidFill>
            <a:schemeClr val="accent6">
              <a:alpha val="10000"/>
            </a:schemeClr>
          </a:solidFill>
          <a:ln w="6350">
            <a:solidFill>
              <a:srgbClr val="10C4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r>
              <a:rPr lang="ru-RU" sz="800" b="1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99AACD3-914E-E2A9-6450-C01B7DF1B6D4}"/>
              </a:ext>
            </a:extLst>
          </p:cNvPr>
          <p:cNvSpPr txBox="1"/>
          <p:nvPr/>
        </p:nvSpPr>
        <p:spPr>
          <a:xfrm>
            <a:off x="4754328" y="3908670"/>
            <a:ext cx="3538564" cy="12589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ru-RU"/>
            </a:defPPr>
            <a:lvl1pPr marL="228600" indent="-228600">
              <a:spcAft>
                <a:spcPts val="600"/>
              </a:spcAft>
              <a:buAutoNum type="arabicPeriod"/>
              <a:defRPr sz="1200"/>
            </a:lvl1pPr>
          </a:lstStyle>
          <a:p>
            <a:pPr marL="182563" indent="-182563">
              <a:buFont typeface="+mj-lt"/>
              <a:buAutoNum type="arabicPeriod" startAt="5"/>
            </a:pPr>
            <a:r>
              <a:rPr lang="ru-RU"/>
              <a:t>Цвет вспомогательного текста.</a:t>
            </a:r>
          </a:p>
          <a:p>
            <a:pPr marL="182563" indent="-182563">
              <a:buFont typeface="+mj-lt"/>
              <a:buAutoNum type="arabicPeriod" startAt="5"/>
            </a:pPr>
            <a:r>
              <a:rPr lang="ru-RU"/>
              <a:t>Цвет больших плашек в светлой теме.</a:t>
            </a:r>
          </a:p>
          <a:p>
            <a:pPr marL="182563" indent="-182563">
              <a:buFont typeface="+mj-lt"/>
              <a:buAutoNum type="arabicPeriod" startAt="5"/>
            </a:pPr>
            <a:r>
              <a:rPr lang="ru-RU"/>
              <a:t>Цвет больших плашек в тёмной теме.</a:t>
            </a:r>
          </a:p>
          <a:p>
            <a:pPr marL="182563" indent="-182563">
              <a:buFont typeface="+mj-lt"/>
              <a:buAutoNum type="arabicPeriod" startAt="5"/>
            </a:pPr>
            <a:r>
              <a:rPr lang="ru-RU"/>
              <a:t>Цвета для маркировки роста / падения показателей в таблицах.</a:t>
            </a:r>
          </a:p>
        </p:txBody>
      </p:sp>
      <p:sp>
        <p:nvSpPr>
          <p:cNvPr id="42" name="Прямоугольник: скругленные углы 41">
            <a:extLst>
              <a:ext uri="{FF2B5EF4-FFF2-40B4-BE49-F238E27FC236}">
                <a16:creationId xmlns:a16="http://schemas.microsoft.com/office/drawing/2014/main" id="{870D83A5-234D-5C17-1D5F-9F32DEE66ED6}"/>
              </a:ext>
            </a:extLst>
          </p:cNvPr>
          <p:cNvSpPr/>
          <p:nvPr/>
        </p:nvSpPr>
        <p:spPr>
          <a:xfrm>
            <a:off x="4967311" y="5221257"/>
            <a:ext cx="728387" cy="570495"/>
          </a:xfrm>
          <a:prstGeom prst="roundRect">
            <a:avLst>
              <a:gd name="adj" fmla="val 8253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900">
              <a:solidFill>
                <a:schemeClr val="tx2"/>
              </a:solidFill>
            </a:endParaRPr>
          </a:p>
        </p:txBody>
      </p:sp>
      <p:sp>
        <p:nvSpPr>
          <p:cNvPr id="43" name="Прямоугольник: скругленные углы 42">
            <a:extLst>
              <a:ext uri="{FF2B5EF4-FFF2-40B4-BE49-F238E27FC236}">
                <a16:creationId xmlns:a16="http://schemas.microsoft.com/office/drawing/2014/main" id="{0BEA42B2-BF4C-459F-40F1-9AB531247C06}"/>
              </a:ext>
            </a:extLst>
          </p:cNvPr>
          <p:cNvSpPr/>
          <p:nvPr/>
        </p:nvSpPr>
        <p:spPr>
          <a:xfrm>
            <a:off x="4780118" y="5221258"/>
            <a:ext cx="147470" cy="242152"/>
          </a:xfrm>
          <a:prstGeom prst="roundRect">
            <a:avLst>
              <a:gd name="adj" fmla="val 20249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A16A151-70A3-D46E-3FEE-CD809FECE6E4}"/>
              </a:ext>
            </a:extLst>
          </p:cNvPr>
          <p:cNvSpPr txBox="1"/>
          <p:nvPr/>
        </p:nvSpPr>
        <p:spPr>
          <a:xfrm>
            <a:off x="5788662" y="5228671"/>
            <a:ext cx="2235410" cy="7538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spc="-30"/>
              <a:t>Слева от слайда добавили подсказку по выбору цветов</a:t>
            </a:r>
            <a:r>
              <a:rPr lang="en-US" sz="1200" spc="-30"/>
              <a:t>,</a:t>
            </a:r>
            <a:r>
              <a:rPr lang="ru-RU" sz="1200" spc="-30"/>
              <a:t> которая дублирует информацию выше</a:t>
            </a:r>
            <a:r>
              <a:rPr lang="en-US" sz="1200" spc="-30"/>
              <a:t>.</a:t>
            </a:r>
            <a:r>
              <a:rPr lang="ru-RU" sz="1200" spc="-30"/>
              <a:t> </a:t>
            </a:r>
          </a:p>
        </p:txBody>
      </p:sp>
      <p:sp>
        <p:nvSpPr>
          <p:cNvPr id="45" name="Прямоугольник: скругленные углы 44">
            <a:extLst>
              <a:ext uri="{FF2B5EF4-FFF2-40B4-BE49-F238E27FC236}">
                <a16:creationId xmlns:a16="http://schemas.microsoft.com/office/drawing/2014/main" id="{BB70B4E0-5947-9F3E-3B6A-45D30980A5AA}"/>
              </a:ext>
            </a:extLst>
          </p:cNvPr>
          <p:cNvSpPr/>
          <p:nvPr/>
        </p:nvSpPr>
        <p:spPr>
          <a:xfrm>
            <a:off x="4780118" y="5495518"/>
            <a:ext cx="147470" cy="173301"/>
          </a:xfrm>
          <a:prstGeom prst="roundRect">
            <a:avLst>
              <a:gd name="adj" fmla="val 188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46" name="Прямоугольник: скругленные углы 45">
            <a:extLst>
              <a:ext uri="{FF2B5EF4-FFF2-40B4-BE49-F238E27FC236}">
                <a16:creationId xmlns:a16="http://schemas.microsoft.com/office/drawing/2014/main" id="{728FA9EC-654E-E19D-5F53-9D6DB5E31D71}"/>
              </a:ext>
            </a:extLst>
          </p:cNvPr>
          <p:cNvSpPr/>
          <p:nvPr/>
        </p:nvSpPr>
        <p:spPr>
          <a:xfrm>
            <a:off x="4780118" y="5700927"/>
            <a:ext cx="147470" cy="99462"/>
          </a:xfrm>
          <a:prstGeom prst="roundRect">
            <a:avLst>
              <a:gd name="adj" fmla="val 2991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47" name="Рисунок 7">
            <a:extLst>
              <a:ext uri="{FF2B5EF4-FFF2-40B4-BE49-F238E27FC236}">
                <a16:creationId xmlns:a16="http://schemas.microsoft.com/office/drawing/2014/main" id="{3FB86F63-95B4-8D2E-1A9A-F785D45CAB4B}"/>
              </a:ext>
            </a:extLst>
          </p:cNvPr>
          <p:cNvSpPr/>
          <p:nvPr/>
        </p:nvSpPr>
        <p:spPr>
          <a:xfrm>
            <a:off x="11248712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AFB31A0-09C1-9043-1A77-84FD4D90313B}"/>
              </a:ext>
            </a:extLst>
          </p:cNvPr>
          <p:cNvSpPr txBox="1"/>
          <p:nvPr/>
        </p:nvSpPr>
        <p:spPr>
          <a:xfrm>
            <a:off x="8972687" y="587649"/>
            <a:ext cx="2421252" cy="3244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>
                <a:solidFill>
                  <a:schemeClr val="accent1"/>
                </a:solidFill>
              </a:rPr>
              <a:t>Всё будет ровно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5E12F67-07D8-7040-A6DE-E851CCEA0DC7}"/>
              </a:ext>
            </a:extLst>
          </p:cNvPr>
          <p:cNvSpPr txBox="1"/>
          <p:nvPr/>
        </p:nvSpPr>
        <p:spPr>
          <a:xfrm>
            <a:off x="8972688" y="927055"/>
            <a:ext cx="2383504" cy="10911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/>
              <a:t>Чтобы тебе было проще выравнивать контент</a:t>
            </a:r>
            <a:r>
              <a:rPr lang="en-US" sz="1200"/>
              <a:t>,</a:t>
            </a:r>
            <a:r>
              <a:rPr lang="ru-RU" sz="1200"/>
              <a:t> в шаблоне настроены направляющие. Включи их, нажав Alt+F9 </a:t>
            </a:r>
            <a:br>
              <a:rPr lang="ru-RU" sz="1200"/>
            </a:br>
            <a:r>
              <a:rPr lang="ru-RU" sz="1200"/>
              <a:t>или через вкладку «Вид» — «Направляющие»</a:t>
            </a:r>
            <a:r>
              <a:rPr lang="en-US" sz="1200"/>
              <a:t>.</a:t>
            </a:r>
            <a:r>
              <a:rPr lang="ru-RU" sz="1200"/>
              <a:t>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116D428-F5AA-A1D9-F109-4424B5FEEFC6}"/>
              </a:ext>
            </a:extLst>
          </p:cNvPr>
          <p:cNvSpPr txBox="1"/>
          <p:nvPr/>
        </p:nvSpPr>
        <p:spPr>
          <a:xfrm>
            <a:off x="9199437" y="2109168"/>
            <a:ext cx="1708894" cy="16196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400"/>
              </a:spcAft>
            </a:pPr>
            <a:r>
              <a:rPr lang="ru-RU" sz="1200"/>
              <a:t>Красными линиями обозначены границы слайда. Не размещай контент за их пределами. </a:t>
            </a:r>
          </a:p>
          <a:p>
            <a:pPr>
              <a:spcAft>
                <a:spcPts val="400"/>
              </a:spcAft>
            </a:pPr>
            <a:r>
              <a:rPr lang="ru-RU" sz="1200"/>
              <a:t>По серым линиям можно выравнивать контент внутри слайда.</a:t>
            </a:r>
          </a:p>
          <a:p>
            <a:pPr algn="l">
              <a:spcAft>
                <a:spcPts val="400"/>
              </a:spcAft>
            </a:pPr>
            <a:endParaRPr lang="ru-RU" sz="1400"/>
          </a:p>
        </p:txBody>
      </p:sp>
      <p:sp>
        <p:nvSpPr>
          <p:cNvPr id="53" name="Прямоугольник: скругленные углы 52">
            <a:extLst>
              <a:ext uri="{FF2B5EF4-FFF2-40B4-BE49-F238E27FC236}">
                <a16:creationId xmlns:a16="http://schemas.microsoft.com/office/drawing/2014/main" id="{09360FA4-F8F2-B1A6-D90C-CE0095F5B7F6}"/>
              </a:ext>
            </a:extLst>
          </p:cNvPr>
          <p:cNvSpPr/>
          <p:nvPr/>
        </p:nvSpPr>
        <p:spPr>
          <a:xfrm>
            <a:off x="8769965" y="4247728"/>
            <a:ext cx="2782273" cy="2022623"/>
          </a:xfrm>
          <a:prstGeom prst="roundRect">
            <a:avLst>
              <a:gd name="adj" fmla="val 1039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54" name="Рисунок 7">
            <a:extLst>
              <a:ext uri="{FF2B5EF4-FFF2-40B4-BE49-F238E27FC236}">
                <a16:creationId xmlns:a16="http://schemas.microsoft.com/office/drawing/2014/main" id="{F0DB6D7E-CA8B-946C-BADB-B831EA01BE74}"/>
              </a:ext>
            </a:extLst>
          </p:cNvPr>
          <p:cNvSpPr/>
          <p:nvPr/>
        </p:nvSpPr>
        <p:spPr>
          <a:xfrm>
            <a:off x="11259721" y="4368825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6102E31-758C-204D-1505-E97C6AAE6F58}"/>
              </a:ext>
            </a:extLst>
          </p:cNvPr>
          <p:cNvSpPr txBox="1"/>
          <p:nvPr/>
        </p:nvSpPr>
        <p:spPr>
          <a:xfrm>
            <a:off x="9596651" y="4400331"/>
            <a:ext cx="1809961" cy="4202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85000"/>
              </a:lnSpc>
            </a:pPr>
            <a:r>
              <a:rPr lang="ru-RU" b="1">
                <a:solidFill>
                  <a:schemeClr val="bg1"/>
                </a:solidFill>
              </a:rPr>
              <a:t>Нужна </a:t>
            </a:r>
          </a:p>
          <a:p>
            <a:pPr algn="l">
              <a:lnSpc>
                <a:spcPct val="85000"/>
              </a:lnSpc>
            </a:pPr>
            <a:r>
              <a:rPr lang="ru-RU" b="1">
                <a:solidFill>
                  <a:schemeClr val="bg1"/>
                </a:solidFill>
              </a:rPr>
              <a:t>поддержка?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8BF44CC-6485-312F-FA38-3DBA3F0D15E3}"/>
              </a:ext>
            </a:extLst>
          </p:cNvPr>
          <p:cNvSpPr txBox="1"/>
          <p:nvPr/>
        </p:nvSpPr>
        <p:spPr>
          <a:xfrm>
            <a:off x="8972688" y="4956676"/>
            <a:ext cx="2383504" cy="10911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>
                <a:solidFill>
                  <a:schemeClr val="bg1"/>
                </a:solidFill>
              </a:rPr>
              <a:t>Заходи на нашу страницу через </a:t>
            </a:r>
            <a:r>
              <a:rPr lang="en-US" sz="1200">
                <a:solidFill>
                  <a:schemeClr val="bg1"/>
                </a:solidFill>
              </a:rPr>
              <a:t>Staff </a:t>
            </a:r>
            <a:r>
              <a:rPr lang="ru-RU" sz="1200">
                <a:solidFill>
                  <a:schemeClr val="bg1"/>
                </a:solidFill>
              </a:rPr>
              <a:t>—  </a:t>
            </a:r>
            <a:r>
              <a:rPr lang="en-US" sz="1200">
                <a:solidFill>
                  <a:schemeClr val="bg1"/>
                </a:solidFill>
              </a:rPr>
              <a:t>Brand Ozon </a:t>
            </a:r>
            <a:r>
              <a:rPr lang="ru-RU" sz="1200">
                <a:solidFill>
                  <a:schemeClr val="bg1"/>
                </a:solidFill>
              </a:rPr>
              <a:t>— Всё для презентаций</a:t>
            </a:r>
            <a:r>
              <a:rPr lang="en-US" sz="1200">
                <a:solidFill>
                  <a:schemeClr val="bg1"/>
                </a:solidFill>
              </a:rPr>
              <a:t>. </a:t>
            </a:r>
            <a:r>
              <a:rPr lang="ru-RU" sz="1200">
                <a:solidFill>
                  <a:schemeClr val="bg1"/>
                </a:solidFill>
              </a:rPr>
              <a:t>Там можно скачать дополнительные материалы </a:t>
            </a:r>
            <a:br>
              <a:rPr lang="ru-RU" sz="1200">
                <a:solidFill>
                  <a:schemeClr val="bg1"/>
                </a:solidFill>
              </a:rPr>
            </a:br>
            <a:r>
              <a:rPr lang="ru-RU" sz="1200">
                <a:solidFill>
                  <a:schemeClr val="bg1"/>
                </a:solidFill>
              </a:rPr>
              <a:t>или записаться на консультацию. </a:t>
            </a:r>
          </a:p>
          <a:p>
            <a:pPr algn="l"/>
            <a:r>
              <a:rPr lang="ru-RU" sz="1200">
                <a:solidFill>
                  <a:schemeClr val="bg1"/>
                </a:solidFill>
              </a:rPr>
              <a:t>Результативных презентаций!</a:t>
            </a:r>
          </a:p>
        </p:txBody>
      </p:sp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4EB5FF24-70BA-114C-52B4-C14A67A03C7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72687" y="4376445"/>
            <a:ext cx="484833" cy="484833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</p:pic>
      <p:sp>
        <p:nvSpPr>
          <p:cNvPr id="59" name="Прямоугольник: скругленные углы 58">
            <a:extLst>
              <a:ext uri="{FF2B5EF4-FFF2-40B4-BE49-F238E27FC236}">
                <a16:creationId xmlns:a16="http://schemas.microsoft.com/office/drawing/2014/main" id="{F0D66FEF-47C6-AB0A-D089-59CF7BFB6471}"/>
              </a:ext>
            </a:extLst>
          </p:cNvPr>
          <p:cNvSpPr/>
          <p:nvPr/>
        </p:nvSpPr>
        <p:spPr>
          <a:xfrm>
            <a:off x="639763" y="411163"/>
            <a:ext cx="3636962" cy="1049233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FC5D6F7-0828-909F-707A-FC316B32BAFB}"/>
              </a:ext>
            </a:extLst>
          </p:cNvPr>
          <p:cNvSpPr txBox="1"/>
          <p:nvPr/>
        </p:nvSpPr>
        <p:spPr>
          <a:xfrm>
            <a:off x="869643" y="572101"/>
            <a:ext cx="2041159" cy="7061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Aft>
                <a:spcPts val="600"/>
              </a:spcAft>
            </a:pPr>
            <a:r>
              <a:rPr lang="ru-RU" sz="1200" b="1">
                <a:solidFill>
                  <a:schemeClr val="bg1"/>
                </a:solidFill>
              </a:rPr>
              <a:t>Ты </a:t>
            </a:r>
            <a:r>
              <a:rPr lang="ru-RU" sz="1200" b="1" err="1">
                <a:solidFill>
                  <a:schemeClr val="bg1"/>
                </a:solidFill>
              </a:rPr>
              <a:t>вовремяу</a:t>
            </a:r>
            <a:r>
              <a:rPr lang="ru-RU" sz="1200" b="1">
                <a:solidFill>
                  <a:schemeClr val="bg1"/>
                </a:solidFill>
              </a:rPr>
              <a:t>! Сейчас расскажу про основной шаблон презентаций Ozon</a:t>
            </a:r>
          </a:p>
        </p:txBody>
      </p: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4E8D7E9E-99CE-819C-5D98-BB63B08E33B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84764" y="253809"/>
            <a:ext cx="1455952" cy="1206587"/>
          </a:xfrm>
          <a:prstGeom prst="rect">
            <a:avLst/>
          </a:prstGeom>
        </p:spPr>
      </p:pic>
      <p:sp>
        <p:nvSpPr>
          <p:cNvPr id="23" name="Рисунок 7">
            <a:extLst>
              <a:ext uri="{FF2B5EF4-FFF2-40B4-BE49-F238E27FC236}">
                <a16:creationId xmlns:a16="http://schemas.microsoft.com/office/drawing/2014/main" id="{1EE27734-862A-F6AE-44D8-CEBEED0269DA}"/>
              </a:ext>
            </a:extLst>
          </p:cNvPr>
          <p:cNvSpPr/>
          <p:nvPr userDrawn="1"/>
        </p:nvSpPr>
        <p:spPr>
          <a:xfrm>
            <a:off x="3983413" y="1943086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5" name="Прямоугольник: скругленные углы 64">
            <a:extLst>
              <a:ext uri="{FF2B5EF4-FFF2-40B4-BE49-F238E27FC236}">
                <a16:creationId xmlns:a16="http://schemas.microsoft.com/office/drawing/2014/main" id="{DDA1F3F9-A479-B8F3-23B0-F2EACC0A4F89}"/>
              </a:ext>
            </a:extLst>
          </p:cNvPr>
          <p:cNvSpPr/>
          <p:nvPr userDrawn="1"/>
        </p:nvSpPr>
        <p:spPr>
          <a:xfrm>
            <a:off x="1023002" y="3108184"/>
            <a:ext cx="728387" cy="570495"/>
          </a:xfrm>
          <a:prstGeom prst="roundRect">
            <a:avLst>
              <a:gd name="adj" fmla="val 8253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900">
              <a:solidFill>
                <a:schemeClr val="tx2"/>
              </a:solidFill>
            </a:endParaRPr>
          </a:p>
        </p:txBody>
      </p:sp>
      <p:sp>
        <p:nvSpPr>
          <p:cNvPr id="66" name="Прямоугольник: скругленные углы 65">
            <a:extLst>
              <a:ext uri="{FF2B5EF4-FFF2-40B4-BE49-F238E27FC236}">
                <a16:creationId xmlns:a16="http://schemas.microsoft.com/office/drawing/2014/main" id="{CB21CD65-F986-7C6D-2086-B846D95DC8EB}"/>
              </a:ext>
            </a:extLst>
          </p:cNvPr>
          <p:cNvSpPr/>
          <p:nvPr userDrawn="1"/>
        </p:nvSpPr>
        <p:spPr>
          <a:xfrm>
            <a:off x="835809" y="3108185"/>
            <a:ext cx="147470" cy="242152"/>
          </a:xfrm>
          <a:prstGeom prst="roundRect">
            <a:avLst>
              <a:gd name="adj" fmla="val 2024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69" name="Прямоугольник: скругленные углы 68">
            <a:extLst>
              <a:ext uri="{FF2B5EF4-FFF2-40B4-BE49-F238E27FC236}">
                <a16:creationId xmlns:a16="http://schemas.microsoft.com/office/drawing/2014/main" id="{21C57030-9375-A53F-9B9B-1BD595DB4BC0}"/>
              </a:ext>
            </a:extLst>
          </p:cNvPr>
          <p:cNvSpPr/>
          <p:nvPr userDrawn="1"/>
        </p:nvSpPr>
        <p:spPr>
          <a:xfrm>
            <a:off x="639763" y="4535412"/>
            <a:ext cx="3636962" cy="1734939"/>
          </a:xfrm>
          <a:prstGeom prst="roundRect">
            <a:avLst>
              <a:gd name="adj" fmla="val 1039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70" name="Рисунок 7">
            <a:extLst>
              <a:ext uri="{FF2B5EF4-FFF2-40B4-BE49-F238E27FC236}">
                <a16:creationId xmlns:a16="http://schemas.microsoft.com/office/drawing/2014/main" id="{F2B7419B-60EF-5C59-E6F9-B644857AC378}"/>
              </a:ext>
            </a:extLst>
          </p:cNvPr>
          <p:cNvSpPr/>
          <p:nvPr userDrawn="1"/>
        </p:nvSpPr>
        <p:spPr>
          <a:xfrm>
            <a:off x="3984207" y="4656592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8E9C7D4-7F19-AC51-33F9-D8BBCA267888}"/>
              </a:ext>
            </a:extLst>
          </p:cNvPr>
          <p:cNvSpPr txBox="1"/>
          <p:nvPr userDrawn="1"/>
        </p:nvSpPr>
        <p:spPr>
          <a:xfrm>
            <a:off x="852195" y="4682793"/>
            <a:ext cx="2741705" cy="2532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>
                <a:solidFill>
                  <a:schemeClr val="accent1"/>
                </a:solidFill>
              </a:rPr>
              <a:t>Таблицы на стиле</a:t>
            </a:r>
          </a:p>
        </p:txBody>
      </p:sp>
      <p:pic>
        <p:nvPicPr>
          <p:cNvPr id="72" name="Рисунок 71">
            <a:extLst>
              <a:ext uri="{FF2B5EF4-FFF2-40B4-BE49-F238E27FC236}">
                <a16:creationId xmlns:a16="http://schemas.microsoft.com/office/drawing/2014/main" id="{839CAEAD-5A29-77AC-24B1-9B23EA722D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7406" y="5041239"/>
            <a:ext cx="1336787" cy="596097"/>
          </a:xfrm>
          <a:prstGeom prst="roundRect">
            <a:avLst>
              <a:gd name="adj" fmla="val 8135"/>
            </a:avLst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668AA1F6-2C48-284A-413B-4F3F92A6F793}"/>
              </a:ext>
            </a:extLst>
          </p:cNvPr>
          <p:cNvSpPr txBox="1"/>
          <p:nvPr userDrawn="1"/>
        </p:nvSpPr>
        <p:spPr>
          <a:xfrm>
            <a:off x="2310490" y="5041239"/>
            <a:ext cx="1737427" cy="8206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spc="-30"/>
              <a:t>Настроили специальный стиль для работы </a:t>
            </a:r>
            <a:br>
              <a:rPr lang="ru-RU" sz="1200" spc="-30"/>
            </a:br>
            <a:r>
              <a:rPr lang="ru-RU" sz="1200" spc="-30"/>
              <a:t>с таблицами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E8D18C9-F6FE-2916-B3E7-94839200DFEB}"/>
              </a:ext>
            </a:extLst>
          </p:cNvPr>
          <p:cNvSpPr txBox="1"/>
          <p:nvPr userDrawn="1"/>
        </p:nvSpPr>
        <p:spPr>
          <a:xfrm>
            <a:off x="852195" y="5727560"/>
            <a:ext cx="3277239" cy="404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/>
              <a:t>Настраивай вид таблицы в несколько кликов в разделе «Конструктор таблиц»</a:t>
            </a:r>
          </a:p>
        </p:txBody>
      </p:sp>
      <p:sp>
        <p:nvSpPr>
          <p:cNvPr id="75" name="Прямоугольник: скругленные углы 74">
            <a:extLst>
              <a:ext uri="{FF2B5EF4-FFF2-40B4-BE49-F238E27FC236}">
                <a16:creationId xmlns:a16="http://schemas.microsoft.com/office/drawing/2014/main" id="{4229081F-D723-2FAA-3892-E9FC912BF1F8}"/>
              </a:ext>
            </a:extLst>
          </p:cNvPr>
          <p:cNvSpPr/>
          <p:nvPr userDrawn="1"/>
        </p:nvSpPr>
        <p:spPr>
          <a:xfrm>
            <a:off x="835809" y="3382445"/>
            <a:ext cx="147470" cy="173301"/>
          </a:xfrm>
          <a:prstGeom prst="roundRect">
            <a:avLst>
              <a:gd name="adj" fmla="val 1886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76" name="Прямоугольник: скругленные углы 75">
            <a:extLst>
              <a:ext uri="{FF2B5EF4-FFF2-40B4-BE49-F238E27FC236}">
                <a16:creationId xmlns:a16="http://schemas.microsoft.com/office/drawing/2014/main" id="{96C9CBD6-99B5-BB03-C015-6A5DEA4AD943}"/>
              </a:ext>
            </a:extLst>
          </p:cNvPr>
          <p:cNvSpPr/>
          <p:nvPr userDrawn="1"/>
        </p:nvSpPr>
        <p:spPr>
          <a:xfrm>
            <a:off x="835809" y="3587854"/>
            <a:ext cx="147470" cy="99462"/>
          </a:xfrm>
          <a:prstGeom prst="roundRect">
            <a:avLst>
              <a:gd name="adj" fmla="val 2991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78" name="Рисунок 7">
            <a:extLst>
              <a:ext uri="{FF2B5EF4-FFF2-40B4-BE49-F238E27FC236}">
                <a16:creationId xmlns:a16="http://schemas.microsoft.com/office/drawing/2014/main" id="{F05551BF-F822-F259-F28D-A7BF32D70259}"/>
              </a:ext>
            </a:extLst>
          </p:cNvPr>
          <p:cNvSpPr/>
          <p:nvPr userDrawn="1"/>
        </p:nvSpPr>
        <p:spPr>
          <a:xfrm>
            <a:off x="8208625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2" name="Прямоугольник: скругленные углы 81">
            <a:extLst>
              <a:ext uri="{FF2B5EF4-FFF2-40B4-BE49-F238E27FC236}">
                <a16:creationId xmlns:a16="http://schemas.microsoft.com/office/drawing/2014/main" id="{4B7E3D5C-E024-056E-A692-14A70C00C88D}"/>
              </a:ext>
            </a:extLst>
          </p:cNvPr>
          <p:cNvSpPr/>
          <p:nvPr userDrawn="1"/>
        </p:nvSpPr>
        <p:spPr>
          <a:xfrm>
            <a:off x="4767556" y="1830194"/>
            <a:ext cx="128588" cy="129930"/>
          </a:xfrm>
          <a:prstGeom prst="roundRect">
            <a:avLst/>
          </a:prstGeom>
          <a:solidFill>
            <a:schemeClr val="accent6">
              <a:alpha val="10000"/>
            </a:schemeClr>
          </a:solidFill>
          <a:ln w="6350">
            <a:solidFill>
              <a:srgbClr val="10C4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8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83" name="Прямоугольник: скругленные углы 82">
            <a:extLst>
              <a:ext uri="{FF2B5EF4-FFF2-40B4-BE49-F238E27FC236}">
                <a16:creationId xmlns:a16="http://schemas.microsoft.com/office/drawing/2014/main" id="{109D1960-0BB2-68DA-0C9E-0C6DF3951ABC}"/>
              </a:ext>
            </a:extLst>
          </p:cNvPr>
          <p:cNvSpPr/>
          <p:nvPr userDrawn="1"/>
        </p:nvSpPr>
        <p:spPr>
          <a:xfrm>
            <a:off x="4906548" y="1830194"/>
            <a:ext cx="128588" cy="129930"/>
          </a:xfrm>
          <a:prstGeom prst="roundRect">
            <a:avLst/>
          </a:prstGeom>
          <a:solidFill>
            <a:schemeClr val="accent6">
              <a:alpha val="10000"/>
            </a:schemeClr>
          </a:solidFill>
          <a:ln w="6350">
            <a:solidFill>
              <a:srgbClr val="10C4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8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6" name="Прямоугольник: скругленные углы 85">
            <a:extLst>
              <a:ext uri="{FF2B5EF4-FFF2-40B4-BE49-F238E27FC236}">
                <a16:creationId xmlns:a16="http://schemas.microsoft.com/office/drawing/2014/main" id="{64A0185F-A819-0E02-D777-D0DBE8D5763B}"/>
              </a:ext>
            </a:extLst>
          </p:cNvPr>
          <p:cNvSpPr/>
          <p:nvPr userDrawn="1"/>
        </p:nvSpPr>
        <p:spPr>
          <a:xfrm>
            <a:off x="4767556" y="2962012"/>
            <a:ext cx="845913" cy="129930"/>
          </a:xfrm>
          <a:prstGeom prst="roundRect">
            <a:avLst/>
          </a:prstGeom>
          <a:solidFill>
            <a:schemeClr val="tx1">
              <a:alpha val="40000"/>
            </a:schemeClr>
          </a:solidFill>
          <a:ln w="6350">
            <a:solidFill>
              <a:srgbClr val="10C4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r>
              <a:rPr lang="ru-RU" sz="8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00" name="Рисунок 7">
            <a:extLst>
              <a:ext uri="{FF2B5EF4-FFF2-40B4-BE49-F238E27FC236}">
                <a16:creationId xmlns:a16="http://schemas.microsoft.com/office/drawing/2014/main" id="{BF8EACDE-C000-C872-7DD4-D2D6912EA863}"/>
              </a:ext>
            </a:extLst>
          </p:cNvPr>
          <p:cNvSpPr/>
          <p:nvPr userDrawn="1"/>
        </p:nvSpPr>
        <p:spPr>
          <a:xfrm>
            <a:off x="11248712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03" name="Рисунок 102">
            <a:extLst>
              <a:ext uri="{FF2B5EF4-FFF2-40B4-BE49-F238E27FC236}">
                <a16:creationId xmlns:a16="http://schemas.microsoft.com/office/drawing/2014/main" id="{0F92B201-50C1-310E-C726-28247CA7DC4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687" y="2117100"/>
            <a:ext cx="166759" cy="166759"/>
          </a:xfrm>
          <a:prstGeom prst="rect">
            <a:avLst/>
          </a:prstGeom>
        </p:spPr>
      </p:pic>
      <p:pic>
        <p:nvPicPr>
          <p:cNvPr id="104" name="Рисунок 103">
            <a:extLst>
              <a:ext uri="{FF2B5EF4-FFF2-40B4-BE49-F238E27FC236}">
                <a16:creationId xmlns:a16="http://schemas.microsoft.com/office/drawing/2014/main" id="{19E94223-E790-58A9-6376-F634F65BD8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687" y="3092518"/>
            <a:ext cx="166759" cy="166759"/>
          </a:xfrm>
          <a:prstGeom prst="rect">
            <a:avLst/>
          </a:prstGeom>
        </p:spPr>
      </p:pic>
      <p:sp>
        <p:nvSpPr>
          <p:cNvPr id="107" name="Рисунок 7">
            <a:extLst>
              <a:ext uri="{FF2B5EF4-FFF2-40B4-BE49-F238E27FC236}">
                <a16:creationId xmlns:a16="http://schemas.microsoft.com/office/drawing/2014/main" id="{BDCE8111-42D6-40F9-4114-0169203FB13D}"/>
              </a:ext>
            </a:extLst>
          </p:cNvPr>
          <p:cNvSpPr/>
          <p:nvPr userDrawn="1"/>
        </p:nvSpPr>
        <p:spPr>
          <a:xfrm>
            <a:off x="11259721" y="4368825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04537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_ligh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606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4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4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985CD6E-087D-7D18-E079-FFF35855D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49399" y="6466120"/>
            <a:ext cx="8183564" cy="144500"/>
          </a:xfrm>
        </p:spPr>
        <p:txBody>
          <a:bodyPr anchor="b"/>
          <a:lstStyle>
            <a:lvl1pPr>
              <a:defRPr sz="1000">
                <a:solidFill>
                  <a:srgbClr val="5A6C7D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1B8BF84-4C88-A2BF-3322-2EC1F81B3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rgbClr val="5A6C7D"/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4"/>
            <a:ext cx="10910888" cy="3588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/>
            </a:lvl1pPr>
          </a:lstStyle>
          <a:p>
            <a:r>
              <a:rPr lang="ru-RU"/>
              <a:t>Сформулируй заголовок слайда в 1 строку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FAE66B39-11DA-D324-553B-5881569B31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763" y="833072"/>
            <a:ext cx="10910887" cy="358858"/>
          </a:xfrm>
        </p:spPr>
        <p:txBody>
          <a:bodyPr/>
          <a:lstStyle>
            <a:lvl1pPr>
              <a:lnSpc>
                <a:spcPct val="90000"/>
              </a:lnSpc>
              <a:defRPr sz="1800"/>
            </a:lvl1pPr>
          </a:lstStyle>
          <a:p>
            <a:pPr lvl="0"/>
            <a:r>
              <a:rPr lang="ru-RU"/>
              <a:t>Сформулируй подзаголовок в 1–2 строки</a:t>
            </a:r>
          </a:p>
        </p:txBody>
      </p:sp>
      <p:sp>
        <p:nvSpPr>
          <p:cNvPr id="75" name="Прямоугольник: скругленные углы 74">
            <a:extLst>
              <a:ext uri="{FF2B5EF4-FFF2-40B4-BE49-F238E27FC236}">
                <a16:creationId xmlns:a16="http://schemas.microsoft.com/office/drawing/2014/main" id="{DF5E2D97-5CF6-49E5-FAB9-9659DF2507A6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Прямоугольник: скругленные верхние углы 75">
            <a:extLst>
              <a:ext uri="{FF2B5EF4-FFF2-40B4-BE49-F238E27FC236}">
                <a16:creationId xmlns:a16="http://schemas.microsoft.com/office/drawing/2014/main" id="{28CEFC34-7B9B-7027-F0C6-03A2D7926408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77" name="Таблица 46">
            <a:extLst>
              <a:ext uri="{FF2B5EF4-FFF2-40B4-BE49-F238E27FC236}">
                <a16:creationId xmlns:a16="http://schemas.microsoft.com/office/drawing/2014/main" id="{0E1EE163-8104-8ED7-61EC-1B745BD881D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94885169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78" name="TextBox 77">
            <a:extLst>
              <a:ext uri="{FF2B5EF4-FFF2-40B4-BE49-F238E27FC236}">
                <a16:creationId xmlns:a16="http://schemas.microsoft.com/office/drawing/2014/main" id="{5E880C56-CF09-F9D4-114E-504DB800D737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79" name="Полилиния: фигура 78">
            <a:extLst>
              <a:ext uri="{FF2B5EF4-FFF2-40B4-BE49-F238E27FC236}">
                <a16:creationId xmlns:a16="http://schemas.microsoft.com/office/drawing/2014/main" id="{DC17A6B4-AD4C-D614-D3EF-7B29139B7D33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B4A1057-F33A-233F-5595-FB724E57AF69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80" name="Прямоугольник: скругленные углы 79">
              <a:extLst>
                <a:ext uri="{FF2B5EF4-FFF2-40B4-BE49-F238E27FC236}">
                  <a16:creationId xmlns:a16="http://schemas.microsoft.com/office/drawing/2014/main" id="{C5D8FE0F-4F35-CB88-5CD2-C537E9CAFD95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: скругленные верхние углы 80">
              <a:extLst>
                <a:ext uri="{FF2B5EF4-FFF2-40B4-BE49-F238E27FC236}">
                  <a16:creationId xmlns:a16="http://schemas.microsoft.com/office/drawing/2014/main" id="{D766D239-FE4F-CEED-614D-0E4B000C48C2}"/>
                </a:ext>
              </a:extLst>
            </p:cNvPr>
            <p:cNvSpPr/>
            <p:nvPr userDrawn="1"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06437743-7E16-7DAB-C3BA-0185BA311E0E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83" name="Прямоугольник: скругленные углы 82">
              <a:extLst>
                <a:ext uri="{FF2B5EF4-FFF2-40B4-BE49-F238E27FC236}">
                  <a16:creationId xmlns:a16="http://schemas.microsoft.com/office/drawing/2014/main" id="{E45FF23D-3D3D-15EB-AE2D-C4E469B1A6F4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4" name="Прямоугольник: скругленные углы 83">
              <a:extLst>
                <a:ext uri="{FF2B5EF4-FFF2-40B4-BE49-F238E27FC236}">
                  <a16:creationId xmlns:a16="http://schemas.microsoft.com/office/drawing/2014/main" id="{EA806163-8F06-78C4-DB82-96B8AE97DE0F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5" name="Прямоугольник: скругленные углы 84">
              <a:extLst>
                <a:ext uri="{FF2B5EF4-FFF2-40B4-BE49-F238E27FC236}">
                  <a16:creationId xmlns:a16="http://schemas.microsoft.com/office/drawing/2014/main" id="{2080A392-32AD-388D-97F3-C88D0A2BED1C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Прямоугольник: скругленные углы 85">
              <a:extLst>
                <a:ext uri="{FF2B5EF4-FFF2-40B4-BE49-F238E27FC236}">
                  <a16:creationId xmlns:a16="http://schemas.microsoft.com/office/drawing/2014/main" id="{298EBD26-DE19-D484-2CD0-06902C8D0DE3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59A69E6A-766A-19C2-5DAF-A6AE6821990B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88" name="Прямоугольник: скругленные углы 87">
              <a:extLst>
                <a:ext uri="{FF2B5EF4-FFF2-40B4-BE49-F238E27FC236}">
                  <a16:creationId xmlns:a16="http://schemas.microsoft.com/office/drawing/2014/main" id="{74AD0FA5-FF9D-171E-B762-C2AC28E189FB}"/>
                </a:ext>
              </a:extLst>
            </p:cNvPr>
            <p:cNvSpPr/>
            <p:nvPr userDrawn="1"/>
          </p:nvSpPr>
          <p:spPr>
            <a:xfrm>
              <a:off x="-1209774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9" name="Прямоугольник: скругленные углы 88">
              <a:extLst>
                <a:ext uri="{FF2B5EF4-FFF2-40B4-BE49-F238E27FC236}">
                  <a16:creationId xmlns:a16="http://schemas.microsoft.com/office/drawing/2014/main" id="{946AC3F1-27D2-0992-42B4-E59BFEEA11C3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0" name="Прямоугольник: скругленные углы 89">
              <a:extLst>
                <a:ext uri="{FF2B5EF4-FFF2-40B4-BE49-F238E27FC236}">
                  <a16:creationId xmlns:a16="http://schemas.microsoft.com/office/drawing/2014/main" id="{D7B41491-EC30-F748-4CAD-44E0EEB6355F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5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1" name="Прямоугольник: скругленные углы 90">
              <a:extLst>
                <a:ext uri="{FF2B5EF4-FFF2-40B4-BE49-F238E27FC236}">
                  <a16:creationId xmlns:a16="http://schemas.microsoft.com/office/drawing/2014/main" id="{2A94C5CB-ECAA-4FBE-DC82-BF5CAD52432B}"/>
                </a:ext>
              </a:extLst>
            </p:cNvPr>
            <p:cNvSpPr/>
            <p:nvPr userDrawn="1"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1"/>
                </a:solidFill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A797855B-7D58-618F-1F37-B0979DC82401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93" name="Прямоугольник: скругленные углы 92">
              <a:extLst>
                <a:ext uri="{FF2B5EF4-FFF2-40B4-BE49-F238E27FC236}">
                  <a16:creationId xmlns:a16="http://schemas.microsoft.com/office/drawing/2014/main" id="{596454FB-338D-1222-E701-35077C2DA109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02E7F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4" name="Прямоугольник: скругленные углы 93">
              <a:extLst>
                <a:ext uri="{FF2B5EF4-FFF2-40B4-BE49-F238E27FC236}">
                  <a16:creationId xmlns:a16="http://schemas.microsoft.com/office/drawing/2014/main" id="{776BB376-7025-1604-4CEF-76D07144B41D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5" name="Прямоугольник: скругленные углы 94">
              <a:extLst>
                <a:ext uri="{FF2B5EF4-FFF2-40B4-BE49-F238E27FC236}">
                  <a16:creationId xmlns:a16="http://schemas.microsoft.com/office/drawing/2014/main" id="{04ED4BE3-EF95-2C36-E8B3-4171A9FF6D5B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6" name="Прямоугольник: скругленные углы 95">
              <a:extLst>
                <a:ext uri="{FF2B5EF4-FFF2-40B4-BE49-F238E27FC236}">
                  <a16:creationId xmlns:a16="http://schemas.microsoft.com/office/drawing/2014/main" id="{D8E79C48-EAF3-696D-817E-54EDA2C8FF69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76C966C9-6724-A43E-8CA3-6AB591CBCD52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98" name="Прямоугольник: скругленные углы 97">
              <a:extLst>
                <a:ext uri="{FF2B5EF4-FFF2-40B4-BE49-F238E27FC236}">
                  <a16:creationId xmlns:a16="http://schemas.microsoft.com/office/drawing/2014/main" id="{CB8A6FF7-1635-A9EF-9CC3-2E05ABEFD272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9" name="Прямоугольник: скругленные углы 98">
              <a:extLst>
                <a:ext uri="{FF2B5EF4-FFF2-40B4-BE49-F238E27FC236}">
                  <a16:creationId xmlns:a16="http://schemas.microsoft.com/office/drawing/2014/main" id="{62C8E22E-6A7B-7C78-6279-2145BF01EB26}"/>
                </a:ext>
              </a:extLst>
            </p:cNvPr>
            <p:cNvSpPr/>
            <p:nvPr userDrawn="1"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6FD2A5C8-4BBF-F7CE-AE02-9F85109DF61A}"/>
                </a:ext>
              </a:extLst>
            </p:cNvPr>
            <p:cNvSpPr txBox="1"/>
            <p:nvPr userDrawn="1"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101" name="Рисунок 93">
              <a:extLst>
                <a:ext uri="{FF2B5EF4-FFF2-40B4-BE49-F238E27FC236}">
                  <a16:creationId xmlns:a16="http://schemas.microsoft.com/office/drawing/2014/main" id="{3D950EF5-BA79-991F-9F49-D9A57FCACC6E}"/>
                </a:ext>
              </a:extLst>
            </p:cNvPr>
            <p:cNvSpPr/>
            <p:nvPr userDrawn="1"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B7F5D9AE-DD86-4638-B21A-807784E2DEBC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103" name="Прямоугольник: скругленные углы 102">
              <a:extLst>
                <a:ext uri="{FF2B5EF4-FFF2-40B4-BE49-F238E27FC236}">
                  <a16:creationId xmlns:a16="http://schemas.microsoft.com/office/drawing/2014/main" id="{72B6DCA7-8D31-A002-DE3E-8B2BB9325A3D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4" name="Прямоугольник: скругленные углы 103">
              <a:extLst>
                <a:ext uri="{FF2B5EF4-FFF2-40B4-BE49-F238E27FC236}">
                  <a16:creationId xmlns:a16="http://schemas.microsoft.com/office/drawing/2014/main" id="{4CA215C3-8857-9DB4-7C2C-FD263F43AA60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5" name="Прямоугольник: скругленные углы 104">
              <a:extLst>
                <a:ext uri="{FF2B5EF4-FFF2-40B4-BE49-F238E27FC236}">
                  <a16:creationId xmlns:a16="http://schemas.microsoft.com/office/drawing/2014/main" id="{D34A1810-E028-1B66-03DE-9B6365DB92C1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7" name="Прямоугольник: скругленные углы 106">
              <a:extLst>
                <a:ext uri="{FF2B5EF4-FFF2-40B4-BE49-F238E27FC236}">
                  <a16:creationId xmlns:a16="http://schemas.microsoft.com/office/drawing/2014/main" id="{A45A59D0-F306-7AE6-07B8-517FC35012B3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8" name="Прямоугольник: скругленные углы 107">
              <a:extLst>
                <a:ext uri="{FF2B5EF4-FFF2-40B4-BE49-F238E27FC236}">
                  <a16:creationId xmlns:a16="http://schemas.microsoft.com/office/drawing/2014/main" id="{60DAF657-405E-C78C-4FCB-FCEC964E5B80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9" name="Прямоугольник: скругленные углы 108">
              <a:extLst>
                <a:ext uri="{FF2B5EF4-FFF2-40B4-BE49-F238E27FC236}">
                  <a16:creationId xmlns:a16="http://schemas.microsoft.com/office/drawing/2014/main" id="{09248DA2-DAEC-4F36-6075-38C3C281EE98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9" name="Рисунок 1">
            <a:extLst>
              <a:ext uri="{FF2B5EF4-FFF2-40B4-BE49-F238E27FC236}">
                <a16:creationId xmlns:a16="http://schemas.microsoft.com/office/drawing/2014/main" id="{84BED65D-6538-7A1F-DEE6-4133F9200DC1}"/>
              </a:ext>
            </a:extLst>
          </p:cNvPr>
          <p:cNvSpPr/>
          <p:nvPr userDrawn="1"/>
        </p:nvSpPr>
        <p:spPr>
          <a:xfrm>
            <a:off x="640541" y="6472839"/>
            <a:ext cx="596000" cy="128865"/>
          </a:xfrm>
          <a:custGeom>
            <a:avLst/>
            <a:gdLst>
              <a:gd name="connsiteX0" fmla="*/ 64809 w 596000"/>
              <a:gd name="connsiteY0" fmla="*/ 0 h 128865"/>
              <a:gd name="connsiteX1" fmla="*/ 0 w 596000"/>
              <a:gd name="connsiteY1" fmla="*/ 64433 h 128865"/>
              <a:gd name="connsiteX2" fmla="*/ 64809 w 596000"/>
              <a:gd name="connsiteY2" fmla="*/ 128865 h 128865"/>
              <a:gd name="connsiteX3" fmla="*/ 129619 w 596000"/>
              <a:gd name="connsiteY3" fmla="*/ 64433 h 128865"/>
              <a:gd name="connsiteX4" fmla="*/ 64809 w 596000"/>
              <a:gd name="connsiteY4" fmla="*/ 0 h 128865"/>
              <a:gd name="connsiteX5" fmla="*/ 64809 w 596000"/>
              <a:gd name="connsiteY5" fmla="*/ 99096 h 128865"/>
              <a:gd name="connsiteX6" fmla="*/ 29944 w 596000"/>
              <a:gd name="connsiteY6" fmla="*/ 64433 h 128865"/>
              <a:gd name="connsiteX7" fmla="*/ 64809 w 596000"/>
              <a:gd name="connsiteY7" fmla="*/ 29769 h 128865"/>
              <a:gd name="connsiteX8" fmla="*/ 99675 w 596000"/>
              <a:gd name="connsiteY8" fmla="*/ 64433 h 128865"/>
              <a:gd name="connsiteX9" fmla="*/ 64809 w 596000"/>
              <a:gd name="connsiteY9" fmla="*/ 99096 h 128865"/>
              <a:gd name="connsiteX10" fmla="*/ 363835 w 596000"/>
              <a:gd name="connsiteY10" fmla="*/ 0 h 128865"/>
              <a:gd name="connsiteX11" fmla="*/ 272774 w 596000"/>
              <a:gd name="connsiteY11" fmla="*/ 64433 h 128865"/>
              <a:gd name="connsiteX12" fmla="*/ 363835 w 596000"/>
              <a:gd name="connsiteY12" fmla="*/ 128865 h 128865"/>
              <a:gd name="connsiteX13" fmla="*/ 454897 w 596000"/>
              <a:gd name="connsiteY13" fmla="*/ 64433 h 128865"/>
              <a:gd name="connsiteX14" fmla="*/ 363835 w 596000"/>
              <a:gd name="connsiteY14" fmla="*/ 0 h 128865"/>
              <a:gd name="connsiteX15" fmla="*/ 363835 w 596000"/>
              <a:gd name="connsiteY15" fmla="*/ 99096 h 128865"/>
              <a:gd name="connsiteX16" fmla="*/ 303127 w 596000"/>
              <a:gd name="connsiteY16" fmla="*/ 64840 h 128865"/>
              <a:gd name="connsiteX17" fmla="*/ 363835 w 596000"/>
              <a:gd name="connsiteY17" fmla="*/ 30585 h 128865"/>
              <a:gd name="connsiteX18" fmla="*/ 424541 w 596000"/>
              <a:gd name="connsiteY18" fmla="*/ 64840 h 128865"/>
              <a:gd name="connsiteX19" fmla="*/ 363835 w 596000"/>
              <a:gd name="connsiteY19" fmla="*/ 99096 h 128865"/>
              <a:gd name="connsiteX20" fmla="*/ 580822 w 596000"/>
              <a:gd name="connsiteY20" fmla="*/ 2855 h 128865"/>
              <a:gd name="connsiteX21" fmla="*/ 565644 w 596000"/>
              <a:gd name="connsiteY21" fmla="*/ 17943 h 128865"/>
              <a:gd name="connsiteX22" fmla="*/ 565644 w 596000"/>
              <a:gd name="connsiteY22" fmla="*/ 68511 h 128865"/>
              <a:gd name="connsiteX23" fmla="*/ 483610 w 596000"/>
              <a:gd name="connsiteY23" fmla="*/ 3670 h 128865"/>
              <a:gd name="connsiteX24" fmla="*/ 476635 w 596000"/>
              <a:gd name="connsiteY24" fmla="*/ 6933 h 128865"/>
              <a:gd name="connsiteX25" fmla="*/ 476635 w 596000"/>
              <a:gd name="connsiteY25" fmla="*/ 110922 h 128865"/>
              <a:gd name="connsiteX26" fmla="*/ 491813 w 596000"/>
              <a:gd name="connsiteY26" fmla="*/ 126010 h 128865"/>
              <a:gd name="connsiteX27" fmla="*/ 506991 w 596000"/>
              <a:gd name="connsiteY27" fmla="*/ 110922 h 128865"/>
              <a:gd name="connsiteX28" fmla="*/ 506991 w 596000"/>
              <a:gd name="connsiteY28" fmla="*/ 60762 h 128865"/>
              <a:gd name="connsiteX29" fmla="*/ 589025 w 596000"/>
              <a:gd name="connsiteY29" fmla="*/ 125603 h 128865"/>
              <a:gd name="connsiteX30" fmla="*/ 596000 w 596000"/>
              <a:gd name="connsiteY30" fmla="*/ 122340 h 128865"/>
              <a:gd name="connsiteX31" fmla="*/ 596000 w 596000"/>
              <a:gd name="connsiteY31" fmla="*/ 17943 h 128865"/>
              <a:gd name="connsiteX32" fmla="*/ 580822 w 596000"/>
              <a:gd name="connsiteY32" fmla="*/ 2855 h 128865"/>
              <a:gd name="connsiteX33" fmla="*/ 248983 w 596000"/>
              <a:gd name="connsiteY33" fmla="*/ 96241 h 128865"/>
              <a:gd name="connsiteX34" fmla="*/ 197299 w 596000"/>
              <a:gd name="connsiteY34" fmla="*/ 96241 h 128865"/>
              <a:gd name="connsiteX35" fmla="*/ 262929 w 596000"/>
              <a:gd name="connsiteY35" fmla="*/ 9787 h 128865"/>
              <a:gd name="connsiteX36" fmla="*/ 259648 w 596000"/>
              <a:gd name="connsiteY36" fmla="*/ 2855 h 128865"/>
              <a:gd name="connsiteX37" fmla="*/ 164484 w 596000"/>
              <a:gd name="connsiteY37" fmla="*/ 2855 h 128865"/>
              <a:gd name="connsiteX38" fmla="*/ 149308 w 596000"/>
              <a:gd name="connsiteY38" fmla="*/ 17943 h 128865"/>
              <a:gd name="connsiteX39" fmla="*/ 164484 w 596000"/>
              <a:gd name="connsiteY39" fmla="*/ 33032 h 128865"/>
              <a:gd name="connsiteX40" fmla="*/ 207554 w 596000"/>
              <a:gd name="connsiteY40" fmla="*/ 33032 h 128865"/>
              <a:gd name="connsiteX41" fmla="*/ 141514 w 596000"/>
              <a:gd name="connsiteY41" fmla="*/ 119486 h 128865"/>
              <a:gd name="connsiteX42" fmla="*/ 145206 w 596000"/>
              <a:gd name="connsiteY42" fmla="*/ 126418 h 128865"/>
              <a:gd name="connsiteX43" fmla="*/ 248983 w 596000"/>
              <a:gd name="connsiteY43" fmla="*/ 126418 h 128865"/>
              <a:gd name="connsiteX44" fmla="*/ 264160 w 596000"/>
              <a:gd name="connsiteY44" fmla="*/ 111330 h 128865"/>
              <a:gd name="connsiteX45" fmla="*/ 248983 w 596000"/>
              <a:gd name="connsiteY45" fmla="*/ 96241 h 128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96000" h="128865">
                <a:moveTo>
                  <a:pt x="64809" y="0"/>
                </a:moveTo>
                <a:cubicBezTo>
                  <a:pt x="29123" y="0"/>
                  <a:pt x="0" y="28954"/>
                  <a:pt x="0" y="64433"/>
                </a:cubicBezTo>
                <a:cubicBezTo>
                  <a:pt x="0" y="99911"/>
                  <a:pt x="29123" y="128865"/>
                  <a:pt x="64809" y="128865"/>
                </a:cubicBezTo>
                <a:cubicBezTo>
                  <a:pt x="100906" y="128865"/>
                  <a:pt x="129619" y="99911"/>
                  <a:pt x="129619" y="64433"/>
                </a:cubicBezTo>
                <a:cubicBezTo>
                  <a:pt x="129619" y="28954"/>
                  <a:pt x="100906" y="0"/>
                  <a:pt x="64809" y="0"/>
                </a:cubicBezTo>
                <a:close/>
                <a:moveTo>
                  <a:pt x="64809" y="99096"/>
                </a:moveTo>
                <a:cubicBezTo>
                  <a:pt x="45531" y="99096"/>
                  <a:pt x="29944" y="83599"/>
                  <a:pt x="29944" y="64433"/>
                </a:cubicBezTo>
                <a:cubicBezTo>
                  <a:pt x="29944" y="45266"/>
                  <a:pt x="45531" y="29769"/>
                  <a:pt x="64809" y="29769"/>
                </a:cubicBezTo>
                <a:cubicBezTo>
                  <a:pt x="84088" y="29769"/>
                  <a:pt x="99675" y="45266"/>
                  <a:pt x="99675" y="64433"/>
                </a:cubicBezTo>
                <a:cubicBezTo>
                  <a:pt x="99675" y="83599"/>
                  <a:pt x="84088" y="99096"/>
                  <a:pt x="64809" y="99096"/>
                </a:cubicBezTo>
                <a:close/>
                <a:moveTo>
                  <a:pt x="363835" y="0"/>
                </a:moveTo>
                <a:cubicBezTo>
                  <a:pt x="313382" y="0"/>
                  <a:pt x="272774" y="28954"/>
                  <a:pt x="272774" y="64433"/>
                </a:cubicBezTo>
                <a:cubicBezTo>
                  <a:pt x="272774" y="99911"/>
                  <a:pt x="313382" y="128865"/>
                  <a:pt x="363835" y="128865"/>
                </a:cubicBezTo>
                <a:cubicBezTo>
                  <a:pt x="414288" y="128865"/>
                  <a:pt x="454897" y="99911"/>
                  <a:pt x="454897" y="64433"/>
                </a:cubicBezTo>
                <a:cubicBezTo>
                  <a:pt x="454897" y="28954"/>
                  <a:pt x="413878" y="0"/>
                  <a:pt x="363835" y="0"/>
                </a:cubicBezTo>
                <a:close/>
                <a:moveTo>
                  <a:pt x="363835" y="99096"/>
                </a:moveTo>
                <a:cubicBezTo>
                  <a:pt x="328969" y="99096"/>
                  <a:pt x="303127" y="80744"/>
                  <a:pt x="303127" y="64840"/>
                </a:cubicBezTo>
                <a:cubicBezTo>
                  <a:pt x="303127" y="48936"/>
                  <a:pt x="328969" y="30585"/>
                  <a:pt x="363835" y="30585"/>
                </a:cubicBezTo>
                <a:cubicBezTo>
                  <a:pt x="398701" y="30585"/>
                  <a:pt x="424541" y="48936"/>
                  <a:pt x="424541" y="64840"/>
                </a:cubicBezTo>
                <a:cubicBezTo>
                  <a:pt x="424541" y="80744"/>
                  <a:pt x="398290" y="99096"/>
                  <a:pt x="363835" y="99096"/>
                </a:cubicBezTo>
                <a:close/>
                <a:moveTo>
                  <a:pt x="580822" y="2855"/>
                </a:moveTo>
                <a:cubicBezTo>
                  <a:pt x="572619" y="2855"/>
                  <a:pt x="565644" y="9787"/>
                  <a:pt x="565644" y="17943"/>
                </a:cubicBezTo>
                <a:lnTo>
                  <a:pt x="565644" y="68511"/>
                </a:lnTo>
                <a:lnTo>
                  <a:pt x="483610" y="3670"/>
                </a:lnTo>
                <a:cubicBezTo>
                  <a:pt x="480738" y="1223"/>
                  <a:pt x="476635" y="3262"/>
                  <a:pt x="476635" y="6933"/>
                </a:cubicBezTo>
                <a:lnTo>
                  <a:pt x="476635" y="110922"/>
                </a:lnTo>
                <a:cubicBezTo>
                  <a:pt x="476635" y="119078"/>
                  <a:pt x="483610" y="126010"/>
                  <a:pt x="491813" y="126010"/>
                </a:cubicBezTo>
                <a:cubicBezTo>
                  <a:pt x="500016" y="126010"/>
                  <a:pt x="506991" y="119078"/>
                  <a:pt x="506991" y="110922"/>
                </a:cubicBezTo>
                <a:lnTo>
                  <a:pt x="506991" y="60762"/>
                </a:lnTo>
                <a:lnTo>
                  <a:pt x="589025" y="125603"/>
                </a:lnTo>
                <a:cubicBezTo>
                  <a:pt x="591897" y="128050"/>
                  <a:pt x="596000" y="126010"/>
                  <a:pt x="596000" y="122340"/>
                </a:cubicBezTo>
                <a:lnTo>
                  <a:pt x="596000" y="17943"/>
                </a:lnTo>
                <a:cubicBezTo>
                  <a:pt x="596000" y="9787"/>
                  <a:pt x="589025" y="2855"/>
                  <a:pt x="580822" y="2855"/>
                </a:cubicBezTo>
                <a:close/>
                <a:moveTo>
                  <a:pt x="248983" y="96241"/>
                </a:moveTo>
                <a:lnTo>
                  <a:pt x="197299" y="96241"/>
                </a:lnTo>
                <a:lnTo>
                  <a:pt x="262929" y="9787"/>
                </a:lnTo>
                <a:cubicBezTo>
                  <a:pt x="264980" y="6933"/>
                  <a:pt x="262929" y="2855"/>
                  <a:pt x="259648" y="2855"/>
                </a:cubicBezTo>
                <a:lnTo>
                  <a:pt x="164484" y="2855"/>
                </a:lnTo>
                <a:cubicBezTo>
                  <a:pt x="156281" y="2855"/>
                  <a:pt x="149308" y="9787"/>
                  <a:pt x="149308" y="17943"/>
                </a:cubicBezTo>
                <a:cubicBezTo>
                  <a:pt x="149308" y="26099"/>
                  <a:pt x="156281" y="33032"/>
                  <a:pt x="164484" y="33032"/>
                </a:cubicBezTo>
                <a:lnTo>
                  <a:pt x="207554" y="33032"/>
                </a:lnTo>
                <a:lnTo>
                  <a:pt x="141514" y="119486"/>
                </a:lnTo>
                <a:cubicBezTo>
                  <a:pt x="139463" y="122340"/>
                  <a:pt x="141514" y="126418"/>
                  <a:pt x="145206" y="126418"/>
                </a:cubicBezTo>
                <a:lnTo>
                  <a:pt x="248983" y="126418"/>
                </a:lnTo>
                <a:cubicBezTo>
                  <a:pt x="257186" y="126418"/>
                  <a:pt x="264160" y="119486"/>
                  <a:pt x="264160" y="111330"/>
                </a:cubicBezTo>
                <a:cubicBezTo>
                  <a:pt x="264160" y="103174"/>
                  <a:pt x="257186" y="96241"/>
                  <a:pt x="248983" y="96241"/>
                </a:cubicBezTo>
                <a:close/>
              </a:path>
            </a:pathLst>
          </a:custGeom>
          <a:solidFill>
            <a:schemeClr val="tx1"/>
          </a:solidFill>
          <a:ln w="399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0857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_title_ligh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606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8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4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/>
            </a:lvl1pPr>
            <a:lvl2pPr>
              <a:lnSpc>
                <a:spcPct val="100000"/>
              </a:lnSpc>
              <a:spcAft>
                <a:spcPts val="1200"/>
              </a:spcAft>
              <a:defRPr sz="2400"/>
            </a:lvl2pPr>
            <a:lvl3pPr>
              <a:lnSpc>
                <a:spcPct val="100000"/>
              </a:lnSpc>
              <a:spcAft>
                <a:spcPts val="1200"/>
              </a:spcAft>
              <a:defRPr sz="2400"/>
            </a:lvl3pPr>
            <a:lvl4pPr>
              <a:lnSpc>
                <a:spcPct val="100000"/>
              </a:lnSpc>
              <a:spcAft>
                <a:spcPts val="1200"/>
              </a:spcAft>
              <a:defRPr sz="2400"/>
            </a:lvl4pPr>
            <a:lvl5pPr>
              <a:lnSpc>
                <a:spcPct val="100000"/>
              </a:lnSpc>
              <a:spcAft>
                <a:spcPts val="1200"/>
              </a:spcAft>
              <a:defRPr sz="24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99" y="420493"/>
            <a:ext cx="10910888" cy="783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2000"/>
              </a:lnSpc>
              <a:defRPr sz="4400" spc="-30" baseline="0"/>
            </a:lvl1pPr>
          </a:lstStyle>
          <a:p>
            <a:r>
              <a:rPr lang="ru-RU"/>
              <a:t>Заголовок слайда в 1 строку</a:t>
            </a:r>
          </a:p>
        </p:txBody>
      </p:sp>
      <p:sp>
        <p:nvSpPr>
          <p:cNvPr id="38" name="Прямоугольник: скругленные углы 37">
            <a:extLst>
              <a:ext uri="{FF2B5EF4-FFF2-40B4-BE49-F238E27FC236}">
                <a16:creationId xmlns:a16="http://schemas.microsoft.com/office/drawing/2014/main" id="{7B5F198A-2559-F2F6-5327-6954972E8252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: скругленные верхние углы 38">
            <a:extLst>
              <a:ext uri="{FF2B5EF4-FFF2-40B4-BE49-F238E27FC236}">
                <a16:creationId xmlns:a16="http://schemas.microsoft.com/office/drawing/2014/main" id="{7F566F0E-F78F-3D2D-3421-869755AFA559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40" name="Таблица 46">
            <a:extLst>
              <a:ext uri="{FF2B5EF4-FFF2-40B4-BE49-F238E27FC236}">
                <a16:creationId xmlns:a16="http://schemas.microsoft.com/office/drawing/2014/main" id="{90C90852-1187-6692-C182-38F701835E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2695781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5</a:t>
                      </a:r>
                      <a:r>
                        <a:rPr lang="ru-RU" sz="1200" b="1"/>
                        <a:t>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44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32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en-US" sz="1200" b="1"/>
                        <a:t>24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</a:t>
                      </a:r>
                      <a:r>
                        <a:rPr lang="en-US" sz="1200" b="1"/>
                        <a:t>8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8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4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2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41" name="Полилиния: фигура 40">
            <a:extLst>
              <a:ext uri="{FF2B5EF4-FFF2-40B4-BE49-F238E27FC236}">
                <a16:creationId xmlns:a16="http://schemas.microsoft.com/office/drawing/2014/main" id="{16881EB9-3774-1E79-046E-FF7CB7E5BD8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575B971-17FB-73BD-BC0C-C9F8A9DB1D14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09905F02-AA08-74B3-07FA-C5D8DFF8FEE1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EC3E8380-6F50-84C3-085E-B9527151795D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Прямоугольник: скругленные верхние углы 42">
              <a:extLst>
                <a:ext uri="{FF2B5EF4-FFF2-40B4-BE49-F238E27FC236}">
                  <a16:creationId xmlns:a16="http://schemas.microsoft.com/office/drawing/2014/main" id="{36C3850C-C55D-0AE4-FFF1-DCFAFBCD4C40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12DCA779-A81E-2BC1-4B50-0EC3A2050DFC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45" name="Прямоугольник: скругленные углы 44">
              <a:extLst>
                <a:ext uri="{FF2B5EF4-FFF2-40B4-BE49-F238E27FC236}">
                  <a16:creationId xmlns:a16="http://schemas.microsoft.com/office/drawing/2014/main" id="{1DB51FD8-47D0-E438-F96A-1970AE7A1C95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Прямоугольник: скругленные углы 45">
              <a:extLst>
                <a:ext uri="{FF2B5EF4-FFF2-40B4-BE49-F238E27FC236}">
                  <a16:creationId xmlns:a16="http://schemas.microsoft.com/office/drawing/2014/main" id="{BEB4B5C5-2EDD-2B66-28F3-53C410FD5ECC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Прямоугольник: скругленные углы 46">
              <a:extLst>
                <a:ext uri="{FF2B5EF4-FFF2-40B4-BE49-F238E27FC236}">
                  <a16:creationId xmlns:a16="http://schemas.microsoft.com/office/drawing/2014/main" id="{14139FE9-F15C-389B-3A67-32912F6CCE89}"/>
                </a:ext>
              </a:extLst>
            </p:cNvPr>
            <p:cNvSpPr/>
            <p:nvPr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Прямоугольник: скругленные углы 47">
              <a:extLst>
                <a:ext uri="{FF2B5EF4-FFF2-40B4-BE49-F238E27FC236}">
                  <a16:creationId xmlns:a16="http://schemas.microsoft.com/office/drawing/2014/main" id="{B7BAA8FC-EC4E-DFC0-B02A-9C55EFF8A741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4826134D-A981-270A-0314-28BCFC8D0364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50" name="Прямоугольник: скругленные углы 49">
              <a:extLst>
                <a:ext uri="{FF2B5EF4-FFF2-40B4-BE49-F238E27FC236}">
                  <a16:creationId xmlns:a16="http://schemas.microsoft.com/office/drawing/2014/main" id="{87DB188E-BD47-CC8A-8285-38719DF6051C}"/>
                </a:ext>
              </a:extLst>
            </p:cNvPr>
            <p:cNvSpPr/>
            <p:nvPr/>
          </p:nvSpPr>
          <p:spPr>
            <a:xfrm>
              <a:off x="-1209774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Прямоугольник: скругленные углы 50">
              <a:extLst>
                <a:ext uri="{FF2B5EF4-FFF2-40B4-BE49-F238E27FC236}">
                  <a16:creationId xmlns:a16="http://schemas.microsoft.com/office/drawing/2014/main" id="{CD053328-B569-F851-B446-68B53DDFFABF}"/>
                </a:ext>
              </a:extLst>
            </p:cNvPr>
            <p:cNvSpPr/>
            <p:nvPr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Прямоугольник: скругленные углы 51">
              <a:extLst>
                <a:ext uri="{FF2B5EF4-FFF2-40B4-BE49-F238E27FC236}">
                  <a16:creationId xmlns:a16="http://schemas.microsoft.com/office/drawing/2014/main" id="{3EE0DFA0-BC07-E4E5-7629-3D87F248C5CA}"/>
                </a:ext>
              </a:extLst>
            </p:cNvPr>
            <p:cNvSpPr/>
            <p:nvPr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5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5D922B5E-4C2B-45FE-2FD5-619A07D94EF2}"/>
                </a:ext>
              </a:extLst>
            </p:cNvPr>
            <p:cNvSpPr/>
            <p:nvPr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1"/>
                </a:solidFill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90C6A0AF-A68E-4EEC-11C5-3771318F077A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1321C4C6-68D2-797B-5CB6-581350B43FD0}"/>
                </a:ext>
              </a:extLst>
            </p:cNvPr>
            <p:cNvSpPr/>
            <p:nvPr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9008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Прямоугольник: скругленные углы 55">
              <a:extLst>
                <a:ext uri="{FF2B5EF4-FFF2-40B4-BE49-F238E27FC236}">
                  <a16:creationId xmlns:a16="http://schemas.microsoft.com/office/drawing/2014/main" id="{0AAB1487-559B-CF89-4CB4-887AFEFA8E99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FA57D2E2-2061-7DFE-8841-6A08E296E1A7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AC053AE7-DA8A-4D4C-8A94-58E464E41499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30720F2F-F525-0C98-F10F-1D821F371CB9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60" name="Прямоугольник: скругленные углы 59">
              <a:extLst>
                <a:ext uri="{FF2B5EF4-FFF2-40B4-BE49-F238E27FC236}">
                  <a16:creationId xmlns:a16="http://schemas.microsoft.com/office/drawing/2014/main" id="{FE5029A0-90C8-51EF-30AB-02ACCCCD1967}"/>
                </a:ext>
              </a:extLst>
            </p:cNvPr>
            <p:cNvSpPr/>
            <p:nvPr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1" name="Прямоугольник: скругленные углы 60">
              <a:extLst>
                <a:ext uri="{FF2B5EF4-FFF2-40B4-BE49-F238E27FC236}">
                  <a16:creationId xmlns:a16="http://schemas.microsoft.com/office/drawing/2014/main" id="{226CE74D-4C18-B61E-9A4F-26695F511B42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528F11B5-BD14-6C8C-0258-1C532D3BCE94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65" name="Рисунок 93">
              <a:extLst>
                <a:ext uri="{FF2B5EF4-FFF2-40B4-BE49-F238E27FC236}">
                  <a16:creationId xmlns:a16="http://schemas.microsoft.com/office/drawing/2014/main" id="{D47CB486-7F70-E197-83E8-C6358EE709B5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ED50E497-0847-8ACE-8737-1FFC73B9A464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9" name="Прямоугольник: скругленные углы 68">
              <a:extLst>
                <a:ext uri="{FF2B5EF4-FFF2-40B4-BE49-F238E27FC236}">
                  <a16:creationId xmlns:a16="http://schemas.microsoft.com/office/drawing/2014/main" id="{B8046652-4E7B-AEDD-90AB-926FF3BFBA37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Прямоугольник: скругленные углы 69">
              <a:extLst>
                <a:ext uri="{FF2B5EF4-FFF2-40B4-BE49-F238E27FC236}">
                  <a16:creationId xmlns:a16="http://schemas.microsoft.com/office/drawing/2014/main" id="{4A29EE5B-52BC-0741-3F38-8F589EFA8462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Прямоугольник: скругленные углы 70">
              <a:extLst>
                <a:ext uri="{FF2B5EF4-FFF2-40B4-BE49-F238E27FC236}">
                  <a16:creationId xmlns:a16="http://schemas.microsoft.com/office/drawing/2014/main" id="{1A943F2E-59A4-5AB1-C0F8-C8081258AEA4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рямоугольник: скругленные углы 13">
              <a:extLst>
                <a:ext uri="{FF2B5EF4-FFF2-40B4-BE49-F238E27FC236}">
                  <a16:creationId xmlns:a16="http://schemas.microsoft.com/office/drawing/2014/main" id="{87F859EA-D2B9-60C4-43A0-2AA0C2B4EFC1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: скругленные углы 14">
              <a:extLst>
                <a:ext uri="{FF2B5EF4-FFF2-40B4-BE49-F238E27FC236}">
                  <a16:creationId xmlns:a16="http://schemas.microsoft.com/office/drawing/2014/main" id="{9956B734-3B95-C8F1-0585-35A0E910647C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C41A8311-8CE1-8247-60B5-2EC334CAA705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: скругленные углы 16">
              <a:extLst>
                <a:ext uri="{FF2B5EF4-FFF2-40B4-BE49-F238E27FC236}">
                  <a16:creationId xmlns:a16="http://schemas.microsoft.com/office/drawing/2014/main" id="{4C0E606B-8268-DF9D-E655-B024AB7199F3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: скругленные углы 18">
              <a:extLst>
                <a:ext uri="{FF2B5EF4-FFF2-40B4-BE49-F238E27FC236}">
                  <a16:creationId xmlns:a16="http://schemas.microsoft.com/office/drawing/2014/main" id="{86CAE805-4C53-FDB6-2E9F-FD145BA8C41D}"/>
                </a:ext>
              </a:extLst>
            </p:cNvPr>
            <p:cNvSpPr/>
            <p:nvPr userDrawn="1"/>
          </p:nvSpPr>
          <p:spPr>
            <a:xfrm>
              <a:off x="-1209774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Прямоугольник: скругленные углы 19">
              <a:extLst>
                <a:ext uri="{FF2B5EF4-FFF2-40B4-BE49-F238E27FC236}">
                  <a16:creationId xmlns:a16="http://schemas.microsoft.com/office/drawing/2014/main" id="{51D57DA2-5887-C201-F46B-A6193182F9F9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Прямоугольник: скругленные углы 20">
              <a:extLst>
                <a:ext uri="{FF2B5EF4-FFF2-40B4-BE49-F238E27FC236}">
                  <a16:creationId xmlns:a16="http://schemas.microsoft.com/office/drawing/2014/main" id="{14CF8F89-7A42-D443-04E8-8A4131393383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5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Прямоугольник: скругленные углы 21">
              <a:extLst>
                <a:ext uri="{FF2B5EF4-FFF2-40B4-BE49-F238E27FC236}">
                  <a16:creationId xmlns:a16="http://schemas.microsoft.com/office/drawing/2014/main" id="{577BB4BE-5A49-2430-33C4-EF42188BA484}"/>
                </a:ext>
              </a:extLst>
            </p:cNvPr>
            <p:cNvSpPr/>
            <p:nvPr userDrawn="1"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1"/>
                </a:solidFill>
              </a:endParaRPr>
            </a:p>
          </p:txBody>
        </p:sp>
        <p:sp>
          <p:nvSpPr>
            <p:cNvPr id="24" name="Прямоугольник: скругленные углы 23">
              <a:extLst>
                <a:ext uri="{FF2B5EF4-FFF2-40B4-BE49-F238E27FC236}">
                  <a16:creationId xmlns:a16="http://schemas.microsoft.com/office/drawing/2014/main" id="{76E8A6B1-C045-B0CA-353E-7F48F886A657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02E7F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: скругленные углы 24">
              <a:extLst>
                <a:ext uri="{FF2B5EF4-FFF2-40B4-BE49-F238E27FC236}">
                  <a16:creationId xmlns:a16="http://schemas.microsoft.com/office/drawing/2014/main" id="{F07EFC83-094F-AE0F-806D-921731A3B5EA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Прямоугольник: скругленные углы 25">
              <a:extLst>
                <a:ext uri="{FF2B5EF4-FFF2-40B4-BE49-F238E27FC236}">
                  <a16:creationId xmlns:a16="http://schemas.microsoft.com/office/drawing/2014/main" id="{2C45EB8E-F7DB-D125-102F-4114DFE29F9C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: скругленные углы 26">
              <a:extLst>
                <a:ext uri="{FF2B5EF4-FFF2-40B4-BE49-F238E27FC236}">
                  <a16:creationId xmlns:a16="http://schemas.microsoft.com/office/drawing/2014/main" id="{70C3FB20-C30C-D4BB-D71F-7B34BCEC426B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Прямоугольник: скругленные углы 28">
              <a:extLst>
                <a:ext uri="{FF2B5EF4-FFF2-40B4-BE49-F238E27FC236}">
                  <a16:creationId xmlns:a16="http://schemas.microsoft.com/office/drawing/2014/main" id="{C6A0E2A6-B0A4-8AAA-ACC2-4F463CEC0B53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Прямоугольник: скругленные углы 36">
              <a:extLst>
                <a:ext uri="{FF2B5EF4-FFF2-40B4-BE49-F238E27FC236}">
                  <a16:creationId xmlns:a16="http://schemas.microsoft.com/office/drawing/2014/main" id="{19FDF446-854F-04EF-EBA9-F6BF9AC83390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Прямоугольник: скругленные углы 62">
              <a:extLst>
                <a:ext uri="{FF2B5EF4-FFF2-40B4-BE49-F238E27FC236}">
                  <a16:creationId xmlns:a16="http://schemas.microsoft.com/office/drawing/2014/main" id="{DA2D2B25-50F4-59D1-A919-080D1079C243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F85A54A5-B234-2A03-3493-0E4E089CF1B9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37F91FFE-0848-C32B-3DE7-253AE66324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rgbClr val="5A6C7D"/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Рисунок 1">
            <a:extLst>
              <a:ext uri="{FF2B5EF4-FFF2-40B4-BE49-F238E27FC236}">
                <a16:creationId xmlns:a16="http://schemas.microsoft.com/office/drawing/2014/main" id="{FC3FFA5C-C75B-AE13-5F9B-5E4DB2C9C454}"/>
              </a:ext>
            </a:extLst>
          </p:cNvPr>
          <p:cNvSpPr/>
          <p:nvPr userDrawn="1"/>
        </p:nvSpPr>
        <p:spPr>
          <a:xfrm>
            <a:off x="640541" y="6472839"/>
            <a:ext cx="596000" cy="128865"/>
          </a:xfrm>
          <a:custGeom>
            <a:avLst/>
            <a:gdLst>
              <a:gd name="connsiteX0" fmla="*/ 64809 w 596000"/>
              <a:gd name="connsiteY0" fmla="*/ 0 h 128865"/>
              <a:gd name="connsiteX1" fmla="*/ 0 w 596000"/>
              <a:gd name="connsiteY1" fmla="*/ 64433 h 128865"/>
              <a:gd name="connsiteX2" fmla="*/ 64809 w 596000"/>
              <a:gd name="connsiteY2" fmla="*/ 128865 h 128865"/>
              <a:gd name="connsiteX3" fmla="*/ 129619 w 596000"/>
              <a:gd name="connsiteY3" fmla="*/ 64433 h 128865"/>
              <a:gd name="connsiteX4" fmla="*/ 64809 w 596000"/>
              <a:gd name="connsiteY4" fmla="*/ 0 h 128865"/>
              <a:gd name="connsiteX5" fmla="*/ 64809 w 596000"/>
              <a:gd name="connsiteY5" fmla="*/ 99096 h 128865"/>
              <a:gd name="connsiteX6" fmla="*/ 29944 w 596000"/>
              <a:gd name="connsiteY6" fmla="*/ 64433 h 128865"/>
              <a:gd name="connsiteX7" fmla="*/ 64809 w 596000"/>
              <a:gd name="connsiteY7" fmla="*/ 29769 h 128865"/>
              <a:gd name="connsiteX8" fmla="*/ 99675 w 596000"/>
              <a:gd name="connsiteY8" fmla="*/ 64433 h 128865"/>
              <a:gd name="connsiteX9" fmla="*/ 64809 w 596000"/>
              <a:gd name="connsiteY9" fmla="*/ 99096 h 128865"/>
              <a:gd name="connsiteX10" fmla="*/ 363835 w 596000"/>
              <a:gd name="connsiteY10" fmla="*/ 0 h 128865"/>
              <a:gd name="connsiteX11" fmla="*/ 272774 w 596000"/>
              <a:gd name="connsiteY11" fmla="*/ 64433 h 128865"/>
              <a:gd name="connsiteX12" fmla="*/ 363835 w 596000"/>
              <a:gd name="connsiteY12" fmla="*/ 128865 h 128865"/>
              <a:gd name="connsiteX13" fmla="*/ 454897 w 596000"/>
              <a:gd name="connsiteY13" fmla="*/ 64433 h 128865"/>
              <a:gd name="connsiteX14" fmla="*/ 363835 w 596000"/>
              <a:gd name="connsiteY14" fmla="*/ 0 h 128865"/>
              <a:gd name="connsiteX15" fmla="*/ 363835 w 596000"/>
              <a:gd name="connsiteY15" fmla="*/ 99096 h 128865"/>
              <a:gd name="connsiteX16" fmla="*/ 303127 w 596000"/>
              <a:gd name="connsiteY16" fmla="*/ 64840 h 128865"/>
              <a:gd name="connsiteX17" fmla="*/ 363835 w 596000"/>
              <a:gd name="connsiteY17" fmla="*/ 30585 h 128865"/>
              <a:gd name="connsiteX18" fmla="*/ 424541 w 596000"/>
              <a:gd name="connsiteY18" fmla="*/ 64840 h 128865"/>
              <a:gd name="connsiteX19" fmla="*/ 363835 w 596000"/>
              <a:gd name="connsiteY19" fmla="*/ 99096 h 128865"/>
              <a:gd name="connsiteX20" fmla="*/ 580822 w 596000"/>
              <a:gd name="connsiteY20" fmla="*/ 2855 h 128865"/>
              <a:gd name="connsiteX21" fmla="*/ 565644 w 596000"/>
              <a:gd name="connsiteY21" fmla="*/ 17943 h 128865"/>
              <a:gd name="connsiteX22" fmla="*/ 565644 w 596000"/>
              <a:gd name="connsiteY22" fmla="*/ 68511 h 128865"/>
              <a:gd name="connsiteX23" fmla="*/ 483610 w 596000"/>
              <a:gd name="connsiteY23" fmla="*/ 3670 h 128865"/>
              <a:gd name="connsiteX24" fmla="*/ 476635 w 596000"/>
              <a:gd name="connsiteY24" fmla="*/ 6933 h 128865"/>
              <a:gd name="connsiteX25" fmla="*/ 476635 w 596000"/>
              <a:gd name="connsiteY25" fmla="*/ 110922 h 128865"/>
              <a:gd name="connsiteX26" fmla="*/ 491813 w 596000"/>
              <a:gd name="connsiteY26" fmla="*/ 126010 h 128865"/>
              <a:gd name="connsiteX27" fmla="*/ 506991 w 596000"/>
              <a:gd name="connsiteY27" fmla="*/ 110922 h 128865"/>
              <a:gd name="connsiteX28" fmla="*/ 506991 w 596000"/>
              <a:gd name="connsiteY28" fmla="*/ 60762 h 128865"/>
              <a:gd name="connsiteX29" fmla="*/ 589025 w 596000"/>
              <a:gd name="connsiteY29" fmla="*/ 125603 h 128865"/>
              <a:gd name="connsiteX30" fmla="*/ 596000 w 596000"/>
              <a:gd name="connsiteY30" fmla="*/ 122340 h 128865"/>
              <a:gd name="connsiteX31" fmla="*/ 596000 w 596000"/>
              <a:gd name="connsiteY31" fmla="*/ 17943 h 128865"/>
              <a:gd name="connsiteX32" fmla="*/ 580822 w 596000"/>
              <a:gd name="connsiteY32" fmla="*/ 2855 h 128865"/>
              <a:gd name="connsiteX33" fmla="*/ 248983 w 596000"/>
              <a:gd name="connsiteY33" fmla="*/ 96241 h 128865"/>
              <a:gd name="connsiteX34" fmla="*/ 197299 w 596000"/>
              <a:gd name="connsiteY34" fmla="*/ 96241 h 128865"/>
              <a:gd name="connsiteX35" fmla="*/ 262929 w 596000"/>
              <a:gd name="connsiteY35" fmla="*/ 9787 h 128865"/>
              <a:gd name="connsiteX36" fmla="*/ 259648 w 596000"/>
              <a:gd name="connsiteY36" fmla="*/ 2855 h 128865"/>
              <a:gd name="connsiteX37" fmla="*/ 164484 w 596000"/>
              <a:gd name="connsiteY37" fmla="*/ 2855 h 128865"/>
              <a:gd name="connsiteX38" fmla="*/ 149308 w 596000"/>
              <a:gd name="connsiteY38" fmla="*/ 17943 h 128865"/>
              <a:gd name="connsiteX39" fmla="*/ 164484 w 596000"/>
              <a:gd name="connsiteY39" fmla="*/ 33032 h 128865"/>
              <a:gd name="connsiteX40" fmla="*/ 207554 w 596000"/>
              <a:gd name="connsiteY40" fmla="*/ 33032 h 128865"/>
              <a:gd name="connsiteX41" fmla="*/ 141514 w 596000"/>
              <a:gd name="connsiteY41" fmla="*/ 119486 h 128865"/>
              <a:gd name="connsiteX42" fmla="*/ 145206 w 596000"/>
              <a:gd name="connsiteY42" fmla="*/ 126418 h 128865"/>
              <a:gd name="connsiteX43" fmla="*/ 248983 w 596000"/>
              <a:gd name="connsiteY43" fmla="*/ 126418 h 128865"/>
              <a:gd name="connsiteX44" fmla="*/ 264160 w 596000"/>
              <a:gd name="connsiteY44" fmla="*/ 111330 h 128865"/>
              <a:gd name="connsiteX45" fmla="*/ 248983 w 596000"/>
              <a:gd name="connsiteY45" fmla="*/ 96241 h 128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96000" h="128865">
                <a:moveTo>
                  <a:pt x="64809" y="0"/>
                </a:moveTo>
                <a:cubicBezTo>
                  <a:pt x="29123" y="0"/>
                  <a:pt x="0" y="28954"/>
                  <a:pt x="0" y="64433"/>
                </a:cubicBezTo>
                <a:cubicBezTo>
                  <a:pt x="0" y="99911"/>
                  <a:pt x="29123" y="128865"/>
                  <a:pt x="64809" y="128865"/>
                </a:cubicBezTo>
                <a:cubicBezTo>
                  <a:pt x="100906" y="128865"/>
                  <a:pt x="129619" y="99911"/>
                  <a:pt x="129619" y="64433"/>
                </a:cubicBezTo>
                <a:cubicBezTo>
                  <a:pt x="129619" y="28954"/>
                  <a:pt x="100906" y="0"/>
                  <a:pt x="64809" y="0"/>
                </a:cubicBezTo>
                <a:close/>
                <a:moveTo>
                  <a:pt x="64809" y="99096"/>
                </a:moveTo>
                <a:cubicBezTo>
                  <a:pt x="45531" y="99096"/>
                  <a:pt x="29944" y="83599"/>
                  <a:pt x="29944" y="64433"/>
                </a:cubicBezTo>
                <a:cubicBezTo>
                  <a:pt x="29944" y="45266"/>
                  <a:pt x="45531" y="29769"/>
                  <a:pt x="64809" y="29769"/>
                </a:cubicBezTo>
                <a:cubicBezTo>
                  <a:pt x="84088" y="29769"/>
                  <a:pt x="99675" y="45266"/>
                  <a:pt x="99675" y="64433"/>
                </a:cubicBezTo>
                <a:cubicBezTo>
                  <a:pt x="99675" y="83599"/>
                  <a:pt x="84088" y="99096"/>
                  <a:pt x="64809" y="99096"/>
                </a:cubicBezTo>
                <a:close/>
                <a:moveTo>
                  <a:pt x="363835" y="0"/>
                </a:moveTo>
                <a:cubicBezTo>
                  <a:pt x="313382" y="0"/>
                  <a:pt x="272774" y="28954"/>
                  <a:pt x="272774" y="64433"/>
                </a:cubicBezTo>
                <a:cubicBezTo>
                  <a:pt x="272774" y="99911"/>
                  <a:pt x="313382" y="128865"/>
                  <a:pt x="363835" y="128865"/>
                </a:cubicBezTo>
                <a:cubicBezTo>
                  <a:pt x="414288" y="128865"/>
                  <a:pt x="454897" y="99911"/>
                  <a:pt x="454897" y="64433"/>
                </a:cubicBezTo>
                <a:cubicBezTo>
                  <a:pt x="454897" y="28954"/>
                  <a:pt x="413878" y="0"/>
                  <a:pt x="363835" y="0"/>
                </a:cubicBezTo>
                <a:close/>
                <a:moveTo>
                  <a:pt x="363835" y="99096"/>
                </a:moveTo>
                <a:cubicBezTo>
                  <a:pt x="328969" y="99096"/>
                  <a:pt x="303127" y="80744"/>
                  <a:pt x="303127" y="64840"/>
                </a:cubicBezTo>
                <a:cubicBezTo>
                  <a:pt x="303127" y="48936"/>
                  <a:pt x="328969" y="30585"/>
                  <a:pt x="363835" y="30585"/>
                </a:cubicBezTo>
                <a:cubicBezTo>
                  <a:pt x="398701" y="30585"/>
                  <a:pt x="424541" y="48936"/>
                  <a:pt x="424541" y="64840"/>
                </a:cubicBezTo>
                <a:cubicBezTo>
                  <a:pt x="424541" y="80744"/>
                  <a:pt x="398290" y="99096"/>
                  <a:pt x="363835" y="99096"/>
                </a:cubicBezTo>
                <a:close/>
                <a:moveTo>
                  <a:pt x="580822" y="2855"/>
                </a:moveTo>
                <a:cubicBezTo>
                  <a:pt x="572619" y="2855"/>
                  <a:pt x="565644" y="9787"/>
                  <a:pt x="565644" y="17943"/>
                </a:cubicBezTo>
                <a:lnTo>
                  <a:pt x="565644" y="68511"/>
                </a:lnTo>
                <a:lnTo>
                  <a:pt x="483610" y="3670"/>
                </a:lnTo>
                <a:cubicBezTo>
                  <a:pt x="480738" y="1223"/>
                  <a:pt x="476635" y="3262"/>
                  <a:pt x="476635" y="6933"/>
                </a:cubicBezTo>
                <a:lnTo>
                  <a:pt x="476635" y="110922"/>
                </a:lnTo>
                <a:cubicBezTo>
                  <a:pt x="476635" y="119078"/>
                  <a:pt x="483610" y="126010"/>
                  <a:pt x="491813" y="126010"/>
                </a:cubicBezTo>
                <a:cubicBezTo>
                  <a:pt x="500016" y="126010"/>
                  <a:pt x="506991" y="119078"/>
                  <a:pt x="506991" y="110922"/>
                </a:cubicBezTo>
                <a:lnTo>
                  <a:pt x="506991" y="60762"/>
                </a:lnTo>
                <a:lnTo>
                  <a:pt x="589025" y="125603"/>
                </a:lnTo>
                <a:cubicBezTo>
                  <a:pt x="591897" y="128050"/>
                  <a:pt x="596000" y="126010"/>
                  <a:pt x="596000" y="122340"/>
                </a:cubicBezTo>
                <a:lnTo>
                  <a:pt x="596000" y="17943"/>
                </a:lnTo>
                <a:cubicBezTo>
                  <a:pt x="596000" y="9787"/>
                  <a:pt x="589025" y="2855"/>
                  <a:pt x="580822" y="2855"/>
                </a:cubicBezTo>
                <a:close/>
                <a:moveTo>
                  <a:pt x="248983" y="96241"/>
                </a:moveTo>
                <a:lnTo>
                  <a:pt x="197299" y="96241"/>
                </a:lnTo>
                <a:lnTo>
                  <a:pt x="262929" y="9787"/>
                </a:lnTo>
                <a:cubicBezTo>
                  <a:pt x="264980" y="6933"/>
                  <a:pt x="262929" y="2855"/>
                  <a:pt x="259648" y="2855"/>
                </a:cubicBezTo>
                <a:lnTo>
                  <a:pt x="164484" y="2855"/>
                </a:lnTo>
                <a:cubicBezTo>
                  <a:pt x="156281" y="2855"/>
                  <a:pt x="149308" y="9787"/>
                  <a:pt x="149308" y="17943"/>
                </a:cubicBezTo>
                <a:cubicBezTo>
                  <a:pt x="149308" y="26099"/>
                  <a:pt x="156281" y="33032"/>
                  <a:pt x="164484" y="33032"/>
                </a:cubicBezTo>
                <a:lnTo>
                  <a:pt x="207554" y="33032"/>
                </a:lnTo>
                <a:lnTo>
                  <a:pt x="141514" y="119486"/>
                </a:lnTo>
                <a:cubicBezTo>
                  <a:pt x="139463" y="122340"/>
                  <a:pt x="141514" y="126418"/>
                  <a:pt x="145206" y="126418"/>
                </a:cubicBezTo>
                <a:lnTo>
                  <a:pt x="248983" y="126418"/>
                </a:lnTo>
                <a:cubicBezTo>
                  <a:pt x="257186" y="126418"/>
                  <a:pt x="264160" y="119486"/>
                  <a:pt x="264160" y="111330"/>
                </a:cubicBezTo>
                <a:cubicBezTo>
                  <a:pt x="264160" y="103174"/>
                  <a:pt x="257186" y="96241"/>
                  <a:pt x="248983" y="96241"/>
                </a:cubicBezTo>
                <a:close/>
              </a:path>
            </a:pathLst>
          </a:custGeom>
          <a:solidFill>
            <a:schemeClr val="tx1"/>
          </a:solidFill>
          <a:ln w="399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" name="Нижний колонтитул 4">
            <a:extLst>
              <a:ext uri="{FF2B5EF4-FFF2-40B4-BE49-F238E27FC236}">
                <a16:creationId xmlns:a16="http://schemas.microsoft.com/office/drawing/2014/main" id="{19972B16-A979-698E-C847-D77A8D463A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49399" y="6465021"/>
            <a:ext cx="8182800" cy="144500"/>
          </a:xfrm>
        </p:spPr>
        <p:txBody>
          <a:bodyPr anchor="b"/>
          <a:lstStyle>
            <a:lvl1pPr>
              <a:defRPr sz="1000">
                <a:solidFill>
                  <a:srgbClr val="5A6C7D"/>
                </a:solidFill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1341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: скругленные углы 30">
            <a:extLst>
              <a:ext uri="{FF2B5EF4-FFF2-40B4-BE49-F238E27FC236}">
                <a16:creationId xmlns:a16="http://schemas.microsoft.com/office/drawing/2014/main" id="{B5CEA510-779D-B186-51D9-A7BE6A4D8CBF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: скругленные верхние углы 31">
            <a:extLst>
              <a:ext uri="{FF2B5EF4-FFF2-40B4-BE49-F238E27FC236}">
                <a16:creationId xmlns:a16="http://schemas.microsoft.com/office/drawing/2014/main" id="{A1C959ED-4845-914A-5E46-E2BC8420265D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3" name="Таблица 46">
            <a:extLst>
              <a:ext uri="{FF2B5EF4-FFF2-40B4-BE49-F238E27FC236}">
                <a16:creationId xmlns:a16="http://schemas.microsoft.com/office/drawing/2014/main" id="{E10B7DDB-30E3-5914-1530-1B343B89EC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4283051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4" name="Полилиния: фигура 33">
            <a:extLst>
              <a:ext uri="{FF2B5EF4-FFF2-40B4-BE49-F238E27FC236}">
                <a16:creationId xmlns:a16="http://schemas.microsoft.com/office/drawing/2014/main" id="{E3D1AAE3-78D4-3900-EC14-93255434D8AD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8" name="Полилиния: фигура 57">
            <a:extLst>
              <a:ext uri="{FF2B5EF4-FFF2-40B4-BE49-F238E27FC236}">
                <a16:creationId xmlns:a16="http://schemas.microsoft.com/office/drawing/2014/main" id="{39436597-275E-B3E6-1DAB-CAF537F82E50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F0AA0D0-E6D7-0849-E730-1598B0ABEC6F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3" name="Прямоугольник: скругленные верхние углы 2">
            <a:extLst>
              <a:ext uri="{FF2B5EF4-FFF2-40B4-BE49-F238E27FC236}">
                <a16:creationId xmlns:a16="http://schemas.microsoft.com/office/drawing/2014/main" id="{D1B15945-87AF-F9F3-2DE0-3A1B323E535F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5" name="Полилиния: фигура 4">
            <a:extLst>
              <a:ext uri="{FF2B5EF4-FFF2-40B4-BE49-F238E27FC236}">
                <a16:creationId xmlns:a16="http://schemas.microsoft.com/office/drawing/2014/main" id="{376C75D7-5626-838A-6058-04D945C0E7E6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29FC3BCA-5963-77F9-C93E-8A7C97A54554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5" name="Прямоугольник: скругленные углы 34">
              <a:extLst>
                <a:ext uri="{FF2B5EF4-FFF2-40B4-BE49-F238E27FC236}">
                  <a16:creationId xmlns:a16="http://schemas.microsoft.com/office/drawing/2014/main" id="{451C6EFC-06B4-5E56-299E-794F0C153CA7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6" name="Прямоугольник: скругленные верхние углы 35">
              <a:extLst>
                <a:ext uri="{FF2B5EF4-FFF2-40B4-BE49-F238E27FC236}">
                  <a16:creationId xmlns:a16="http://schemas.microsoft.com/office/drawing/2014/main" id="{4C22702F-98A1-B992-0075-D14E2A0588B5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F16AB7DE-CF4B-86FB-1B5A-ABE23228BA4F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38" name="Прямоугольник: скругленные углы 37">
              <a:extLst>
                <a:ext uri="{FF2B5EF4-FFF2-40B4-BE49-F238E27FC236}">
                  <a16:creationId xmlns:a16="http://schemas.microsoft.com/office/drawing/2014/main" id="{3FDAD732-0125-1143-E119-FEA704054C60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24FD7908-8994-1051-016D-5CC13F02FDB8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углы 39">
              <a:extLst>
                <a:ext uri="{FF2B5EF4-FFF2-40B4-BE49-F238E27FC236}">
                  <a16:creationId xmlns:a16="http://schemas.microsoft.com/office/drawing/2014/main" id="{4E6942A2-E48B-F622-2243-9FC2E291D8E8}"/>
                </a:ext>
              </a:extLst>
            </p:cNvPr>
            <p:cNvSpPr/>
            <p:nvPr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1" name="Прямоугольник: скругленные углы 40">
              <a:extLst>
                <a:ext uri="{FF2B5EF4-FFF2-40B4-BE49-F238E27FC236}">
                  <a16:creationId xmlns:a16="http://schemas.microsoft.com/office/drawing/2014/main" id="{522CD51C-93E9-1670-8BEA-B201505F612B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2B9577B-9B6B-15BD-739F-1225D3CDB149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AE9034D0-25F2-A8C1-F557-12B57AEC9309}"/>
                </a:ext>
              </a:extLst>
            </p:cNvPr>
            <p:cNvSpPr/>
            <p:nvPr/>
          </p:nvSpPr>
          <p:spPr>
            <a:xfrm>
              <a:off x="-1209774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65582AC9-69E4-5258-E336-B355E4884684}"/>
                </a:ext>
              </a:extLst>
            </p:cNvPr>
            <p:cNvSpPr/>
            <p:nvPr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5" name="Прямоугольник: скругленные углы 44">
              <a:extLst>
                <a:ext uri="{FF2B5EF4-FFF2-40B4-BE49-F238E27FC236}">
                  <a16:creationId xmlns:a16="http://schemas.microsoft.com/office/drawing/2014/main" id="{28C905A1-02F3-4C95-9648-AACA6DBF796B}"/>
                </a:ext>
              </a:extLst>
            </p:cNvPr>
            <p:cNvSpPr/>
            <p:nvPr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5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Прямоугольник: скругленные углы 45">
              <a:extLst>
                <a:ext uri="{FF2B5EF4-FFF2-40B4-BE49-F238E27FC236}">
                  <a16:creationId xmlns:a16="http://schemas.microsoft.com/office/drawing/2014/main" id="{61DC806F-D2CD-53D6-C953-37B3574F213B}"/>
                </a:ext>
              </a:extLst>
            </p:cNvPr>
            <p:cNvSpPr/>
            <p:nvPr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1"/>
                </a:solidFill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80C97B5-3952-7910-A413-CE09F4CCF3AB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48" name="Прямоугольник: скругленные углы 47">
              <a:extLst>
                <a:ext uri="{FF2B5EF4-FFF2-40B4-BE49-F238E27FC236}">
                  <a16:creationId xmlns:a16="http://schemas.microsoft.com/office/drawing/2014/main" id="{D3B4BB9F-1DB4-50A0-14E7-2E2ADD11AEB1}"/>
                </a:ext>
              </a:extLst>
            </p:cNvPr>
            <p:cNvSpPr/>
            <p:nvPr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002E7F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EED9B596-6C25-BBE8-6385-8220EB3E1043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0" name="Прямоугольник: скругленные углы 49">
              <a:extLst>
                <a:ext uri="{FF2B5EF4-FFF2-40B4-BE49-F238E27FC236}">
                  <a16:creationId xmlns:a16="http://schemas.microsoft.com/office/drawing/2014/main" id="{91D74ADE-14FE-3ED2-65A2-CFE136CC1A5E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Прямоугольник: скругленные углы 50">
              <a:extLst>
                <a:ext uri="{FF2B5EF4-FFF2-40B4-BE49-F238E27FC236}">
                  <a16:creationId xmlns:a16="http://schemas.microsoft.com/office/drawing/2014/main" id="{C896DCD4-48B4-626F-B661-C4D24A372953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5D0C49C4-8A7A-7680-8607-00F5BDC44B72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08B87031-6BD7-A056-0BA6-38E2AF1BA40E}"/>
                </a:ext>
              </a:extLst>
            </p:cNvPr>
            <p:cNvSpPr/>
            <p:nvPr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FE7FB711-D05A-9600-3AD0-23D83D2A3A51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66F44A17-9F69-51EE-5BDF-B8A1215914B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56" name="Рисунок 93">
              <a:extLst>
                <a:ext uri="{FF2B5EF4-FFF2-40B4-BE49-F238E27FC236}">
                  <a16:creationId xmlns:a16="http://schemas.microsoft.com/office/drawing/2014/main" id="{F7ACD859-831B-B92D-6598-DCA1F3CF6309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3FF9DED0-F418-3F66-9330-21C737FCBA77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0" name="Прямоугольник: скругленные углы 59">
              <a:extLst>
                <a:ext uri="{FF2B5EF4-FFF2-40B4-BE49-F238E27FC236}">
                  <a16:creationId xmlns:a16="http://schemas.microsoft.com/office/drawing/2014/main" id="{ADF98773-05FC-30DB-27B7-EA76F799AAD2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1" name="Прямоугольник: скругленные углы 60">
              <a:extLst>
                <a:ext uri="{FF2B5EF4-FFF2-40B4-BE49-F238E27FC236}">
                  <a16:creationId xmlns:a16="http://schemas.microsoft.com/office/drawing/2014/main" id="{C5414EA8-DFF8-18DA-88E1-A40C0D6BF477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Прямоугольник: скругленные углы 61">
              <a:extLst>
                <a:ext uri="{FF2B5EF4-FFF2-40B4-BE49-F238E27FC236}">
                  <a16:creationId xmlns:a16="http://schemas.microsoft.com/office/drawing/2014/main" id="{B057ECE9-27EC-B011-57D3-BFEDE3195A83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Прямоугольник: скругленные верхние углы 6">
              <a:extLst>
                <a:ext uri="{FF2B5EF4-FFF2-40B4-BE49-F238E27FC236}">
                  <a16:creationId xmlns:a16="http://schemas.microsoft.com/office/drawing/2014/main" id="{F36F80B4-A8AF-0BA6-FC87-DFE4BC6235F5}"/>
                </a:ext>
              </a:extLst>
            </p:cNvPr>
            <p:cNvSpPr/>
            <p:nvPr userDrawn="1"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460A991C-BA4C-C31C-B948-D5F252D0A83E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14755316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5">
            <a:extLst>
              <a:ext uri="{FF2B5EF4-FFF2-40B4-BE49-F238E27FC236}">
                <a16:creationId xmlns:a16="http://schemas.microsoft.com/office/drawing/2014/main" id="{197A927F-73D8-A013-C06F-BEBBE8391F30}"/>
              </a:ext>
            </a:extLst>
          </p:cNvPr>
          <p:cNvSpPr/>
          <p:nvPr/>
        </p:nvSpPr>
        <p:spPr>
          <a:xfrm>
            <a:off x="639763" y="411162"/>
            <a:ext cx="10910888" cy="5851526"/>
          </a:xfrm>
          <a:custGeom>
            <a:avLst/>
            <a:gdLst>
              <a:gd name="connsiteX0" fmla="*/ 4777550 w 4777549"/>
              <a:gd name="connsiteY0" fmla="*/ 196977 h 2553938"/>
              <a:gd name="connsiteX1" fmla="*/ 4777550 w 4777549"/>
              <a:gd name="connsiteY1" fmla="*/ 1926527 h 2553938"/>
              <a:gd name="connsiteX2" fmla="*/ 4610196 w 4777549"/>
              <a:gd name="connsiteY2" fmla="*/ 2115598 h 2553938"/>
              <a:gd name="connsiteX3" fmla="*/ 2666238 w 4777549"/>
              <a:gd name="connsiteY3" fmla="*/ 2115598 h 2553938"/>
              <a:gd name="connsiteX4" fmla="*/ 2481548 w 4777549"/>
              <a:gd name="connsiteY4" fmla="*/ 2192084 h 2553938"/>
              <a:gd name="connsiteX5" fmla="*/ 2181130 w 4777549"/>
              <a:gd name="connsiteY5" fmla="*/ 2492502 h 2553938"/>
              <a:gd name="connsiteX6" fmla="*/ 2032921 w 4777549"/>
              <a:gd name="connsiteY6" fmla="*/ 2553938 h 2553938"/>
              <a:gd name="connsiteX7" fmla="*/ 196977 w 4777549"/>
              <a:gd name="connsiteY7" fmla="*/ 2553938 h 2553938"/>
              <a:gd name="connsiteX8" fmla="*/ 0 w 4777549"/>
              <a:gd name="connsiteY8" fmla="*/ 2356961 h 2553938"/>
              <a:gd name="connsiteX9" fmla="*/ 0 w 4777549"/>
              <a:gd name="connsiteY9" fmla="*/ 196977 h 2553938"/>
              <a:gd name="connsiteX10" fmla="*/ 196977 w 4777549"/>
              <a:gd name="connsiteY10" fmla="*/ 0 h 2553938"/>
              <a:gd name="connsiteX11" fmla="*/ 4580573 w 4777549"/>
              <a:gd name="connsiteY11" fmla="*/ 0 h 2553938"/>
              <a:gd name="connsiteX12" fmla="*/ 4777550 w 4777549"/>
              <a:gd name="connsiteY12" fmla="*/ 196977 h 2553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777549" h="2553938">
                <a:moveTo>
                  <a:pt x="4777550" y="196977"/>
                </a:moveTo>
                <a:lnTo>
                  <a:pt x="4777550" y="1926527"/>
                </a:lnTo>
                <a:cubicBezTo>
                  <a:pt x="4777550" y="2023967"/>
                  <a:pt x="4704493" y="2104263"/>
                  <a:pt x="4610196" y="2115598"/>
                </a:cubicBezTo>
                <a:lnTo>
                  <a:pt x="2666238" y="2115598"/>
                </a:lnTo>
                <a:cubicBezTo>
                  <a:pt x="2596991" y="2115598"/>
                  <a:pt x="2530602" y="2143125"/>
                  <a:pt x="2481548" y="2192084"/>
                </a:cubicBezTo>
                <a:lnTo>
                  <a:pt x="2181130" y="2492502"/>
                </a:lnTo>
                <a:cubicBezTo>
                  <a:pt x="2141792" y="2531840"/>
                  <a:pt x="2088452" y="2553938"/>
                  <a:pt x="2032921" y="2553938"/>
                </a:cubicBezTo>
                <a:lnTo>
                  <a:pt x="196977" y="2553938"/>
                </a:lnTo>
                <a:cubicBezTo>
                  <a:pt x="88202" y="2553938"/>
                  <a:pt x="0" y="2465737"/>
                  <a:pt x="0" y="2356961"/>
                </a:cubicBezTo>
                <a:lnTo>
                  <a:pt x="0" y="196977"/>
                </a:lnTo>
                <a:cubicBezTo>
                  <a:pt x="0" y="88202"/>
                  <a:pt x="88202" y="0"/>
                  <a:pt x="196977" y="0"/>
                </a:cubicBezTo>
                <a:lnTo>
                  <a:pt x="4580573" y="0"/>
                </a:lnTo>
                <a:cubicBezTo>
                  <a:pt x="4689348" y="0"/>
                  <a:pt x="4777550" y="88202"/>
                  <a:pt x="4777550" y="19697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25000">
                <a:srgbClr val="2E78FF"/>
              </a:gs>
              <a:gs pos="90000">
                <a:srgbClr val="5CC3FF"/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endParaRPr lang="ru-RU" sz="140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4115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2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5194112"/>
            <a:ext cx="3867020" cy="590868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Имя и фамилия спикера, контакты </a:t>
            </a:r>
            <a:br>
              <a:rPr lang="ru-RU"/>
            </a:br>
            <a:r>
              <a:rPr lang="ru-RU"/>
              <a:t>или другая информация</a:t>
            </a:r>
          </a:p>
        </p:txBody>
      </p:sp>
      <p:sp>
        <p:nvSpPr>
          <p:cNvPr id="12" name="Рисунок 7">
            <a:extLst>
              <a:ext uri="{FF2B5EF4-FFF2-40B4-BE49-F238E27FC236}">
                <a16:creationId xmlns:a16="http://schemas.microsoft.com/office/drawing/2014/main" id="{8082470F-B02E-5F25-DB85-57374A194EE6}"/>
              </a:ext>
            </a:extLst>
          </p:cNvPr>
          <p:cNvSpPr/>
          <p:nvPr/>
        </p:nvSpPr>
        <p:spPr>
          <a:xfrm>
            <a:off x="1541812" y="1009909"/>
            <a:ext cx="1165502" cy="252000"/>
          </a:xfrm>
          <a:custGeom>
            <a:avLst/>
            <a:gdLst>
              <a:gd name="connsiteX0" fmla="*/ 126737 w 1165502"/>
              <a:gd name="connsiteY0" fmla="*/ 0 h 252000"/>
              <a:gd name="connsiteX1" fmla="*/ 0 w 1165502"/>
              <a:gd name="connsiteY1" fmla="*/ 126000 h 252000"/>
              <a:gd name="connsiteX2" fmla="*/ 126737 w 1165502"/>
              <a:gd name="connsiteY2" fmla="*/ 252000 h 252000"/>
              <a:gd name="connsiteX3" fmla="*/ 253475 w 1165502"/>
              <a:gd name="connsiteY3" fmla="*/ 126000 h 252000"/>
              <a:gd name="connsiteX4" fmla="*/ 126737 w 1165502"/>
              <a:gd name="connsiteY4" fmla="*/ 0 h 252000"/>
              <a:gd name="connsiteX5" fmla="*/ 126737 w 1165502"/>
              <a:gd name="connsiteY5" fmla="*/ 193785 h 252000"/>
              <a:gd name="connsiteX6" fmla="*/ 58556 w 1165502"/>
              <a:gd name="connsiteY6" fmla="*/ 126000 h 252000"/>
              <a:gd name="connsiteX7" fmla="*/ 126737 w 1165502"/>
              <a:gd name="connsiteY7" fmla="*/ 58215 h 252000"/>
              <a:gd name="connsiteX8" fmla="*/ 194918 w 1165502"/>
              <a:gd name="connsiteY8" fmla="*/ 126000 h 252000"/>
              <a:gd name="connsiteX9" fmla="*/ 126737 w 1165502"/>
              <a:gd name="connsiteY9" fmla="*/ 193785 h 252000"/>
              <a:gd name="connsiteX10" fmla="*/ 711493 w 1165502"/>
              <a:gd name="connsiteY10" fmla="*/ 0 h 252000"/>
              <a:gd name="connsiteX11" fmla="*/ 533420 w 1165502"/>
              <a:gd name="connsiteY11" fmla="*/ 126000 h 252000"/>
              <a:gd name="connsiteX12" fmla="*/ 711493 w 1165502"/>
              <a:gd name="connsiteY12" fmla="*/ 252000 h 252000"/>
              <a:gd name="connsiteX13" fmla="*/ 889569 w 1165502"/>
              <a:gd name="connsiteY13" fmla="*/ 126000 h 252000"/>
              <a:gd name="connsiteX14" fmla="*/ 711493 w 1165502"/>
              <a:gd name="connsiteY14" fmla="*/ 0 h 252000"/>
              <a:gd name="connsiteX15" fmla="*/ 711493 w 1165502"/>
              <a:gd name="connsiteY15" fmla="*/ 193785 h 252000"/>
              <a:gd name="connsiteX16" fmla="*/ 592778 w 1165502"/>
              <a:gd name="connsiteY16" fmla="*/ 126798 h 252000"/>
              <a:gd name="connsiteX17" fmla="*/ 711493 w 1165502"/>
              <a:gd name="connsiteY17" fmla="*/ 59810 h 252000"/>
              <a:gd name="connsiteX18" fmla="*/ 830208 w 1165502"/>
              <a:gd name="connsiteY18" fmla="*/ 126798 h 252000"/>
              <a:gd name="connsiteX19" fmla="*/ 711493 w 1165502"/>
              <a:gd name="connsiteY19" fmla="*/ 193785 h 252000"/>
              <a:gd name="connsiteX20" fmla="*/ 1135821 w 1165502"/>
              <a:gd name="connsiteY20" fmla="*/ 5582 h 252000"/>
              <a:gd name="connsiteX21" fmla="*/ 1106140 w 1165502"/>
              <a:gd name="connsiteY21" fmla="*/ 35089 h 252000"/>
              <a:gd name="connsiteX22" fmla="*/ 1106140 w 1165502"/>
              <a:gd name="connsiteY22" fmla="*/ 133975 h 252000"/>
              <a:gd name="connsiteX23" fmla="*/ 945718 w 1165502"/>
              <a:gd name="connsiteY23" fmla="*/ 7177 h 252000"/>
              <a:gd name="connsiteX24" fmla="*/ 932079 w 1165502"/>
              <a:gd name="connsiteY24" fmla="*/ 13557 h 252000"/>
              <a:gd name="connsiteX25" fmla="*/ 932079 w 1165502"/>
              <a:gd name="connsiteY25" fmla="*/ 216911 h 252000"/>
              <a:gd name="connsiteX26" fmla="*/ 961760 w 1165502"/>
              <a:gd name="connsiteY26" fmla="*/ 246417 h 252000"/>
              <a:gd name="connsiteX27" fmla="*/ 991441 w 1165502"/>
              <a:gd name="connsiteY27" fmla="*/ 216911 h 252000"/>
              <a:gd name="connsiteX28" fmla="*/ 991441 w 1165502"/>
              <a:gd name="connsiteY28" fmla="*/ 118823 h 252000"/>
              <a:gd name="connsiteX29" fmla="*/ 1151863 w 1165502"/>
              <a:gd name="connsiteY29" fmla="*/ 245620 h 252000"/>
              <a:gd name="connsiteX30" fmla="*/ 1165502 w 1165502"/>
              <a:gd name="connsiteY30" fmla="*/ 239240 h 252000"/>
              <a:gd name="connsiteX31" fmla="*/ 1165502 w 1165502"/>
              <a:gd name="connsiteY31" fmla="*/ 35089 h 252000"/>
              <a:gd name="connsiteX32" fmla="*/ 1135821 w 1165502"/>
              <a:gd name="connsiteY32" fmla="*/ 5582 h 252000"/>
              <a:gd name="connsiteX33" fmla="*/ 486896 w 1165502"/>
              <a:gd name="connsiteY33" fmla="*/ 188202 h 252000"/>
              <a:gd name="connsiteX34" fmla="*/ 385827 w 1165502"/>
              <a:gd name="connsiteY34" fmla="*/ 188202 h 252000"/>
              <a:gd name="connsiteX35" fmla="*/ 514168 w 1165502"/>
              <a:gd name="connsiteY35" fmla="*/ 19139 h 252000"/>
              <a:gd name="connsiteX36" fmla="*/ 507752 w 1165502"/>
              <a:gd name="connsiteY36" fmla="*/ 5582 h 252000"/>
              <a:gd name="connsiteX37" fmla="*/ 321656 w 1165502"/>
              <a:gd name="connsiteY37" fmla="*/ 5582 h 252000"/>
              <a:gd name="connsiteX38" fmla="*/ 291977 w 1165502"/>
              <a:gd name="connsiteY38" fmla="*/ 35089 h 252000"/>
              <a:gd name="connsiteX39" fmla="*/ 321656 w 1165502"/>
              <a:gd name="connsiteY39" fmla="*/ 64595 h 252000"/>
              <a:gd name="connsiteX40" fmla="*/ 405881 w 1165502"/>
              <a:gd name="connsiteY40" fmla="*/ 64595 h 252000"/>
              <a:gd name="connsiteX41" fmla="*/ 276737 w 1165502"/>
              <a:gd name="connsiteY41" fmla="*/ 233658 h 252000"/>
              <a:gd name="connsiteX42" fmla="*/ 283956 w 1165502"/>
              <a:gd name="connsiteY42" fmla="*/ 247215 h 252000"/>
              <a:gd name="connsiteX43" fmla="*/ 486896 w 1165502"/>
              <a:gd name="connsiteY43" fmla="*/ 247215 h 252000"/>
              <a:gd name="connsiteX44" fmla="*/ 516575 w 1165502"/>
              <a:gd name="connsiteY44" fmla="*/ 217709 h 252000"/>
              <a:gd name="connsiteX45" fmla="*/ 486896 w 1165502"/>
              <a:gd name="connsiteY45" fmla="*/ 188202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165502" h="252000">
                <a:moveTo>
                  <a:pt x="126737" y="0"/>
                </a:moveTo>
                <a:cubicBezTo>
                  <a:pt x="56952" y="0"/>
                  <a:pt x="0" y="56620"/>
                  <a:pt x="0" y="126000"/>
                </a:cubicBezTo>
                <a:cubicBezTo>
                  <a:pt x="0" y="195380"/>
                  <a:pt x="56952" y="252000"/>
                  <a:pt x="126737" y="252000"/>
                </a:cubicBezTo>
                <a:cubicBezTo>
                  <a:pt x="197325" y="252000"/>
                  <a:pt x="253475" y="195380"/>
                  <a:pt x="253475" y="126000"/>
                </a:cubicBezTo>
                <a:cubicBezTo>
                  <a:pt x="253475" y="56620"/>
                  <a:pt x="197325" y="0"/>
                  <a:pt x="126737" y="0"/>
                </a:cubicBezTo>
                <a:close/>
                <a:moveTo>
                  <a:pt x="126737" y="193785"/>
                </a:moveTo>
                <a:cubicBezTo>
                  <a:pt x="89037" y="193785"/>
                  <a:pt x="58556" y="163481"/>
                  <a:pt x="58556" y="126000"/>
                </a:cubicBezTo>
                <a:cubicBezTo>
                  <a:pt x="58556" y="88519"/>
                  <a:pt x="89037" y="58215"/>
                  <a:pt x="126737" y="58215"/>
                </a:cubicBezTo>
                <a:cubicBezTo>
                  <a:pt x="164437" y="58215"/>
                  <a:pt x="194918" y="88519"/>
                  <a:pt x="194918" y="126000"/>
                </a:cubicBezTo>
                <a:cubicBezTo>
                  <a:pt x="194918" y="163481"/>
                  <a:pt x="164437" y="193785"/>
                  <a:pt x="126737" y="193785"/>
                </a:cubicBezTo>
                <a:close/>
                <a:moveTo>
                  <a:pt x="711493" y="0"/>
                </a:moveTo>
                <a:cubicBezTo>
                  <a:pt x="612831" y="0"/>
                  <a:pt x="533420" y="56620"/>
                  <a:pt x="533420" y="126000"/>
                </a:cubicBezTo>
                <a:cubicBezTo>
                  <a:pt x="533420" y="195380"/>
                  <a:pt x="612831" y="252000"/>
                  <a:pt x="711493" y="252000"/>
                </a:cubicBezTo>
                <a:cubicBezTo>
                  <a:pt x="810158" y="252000"/>
                  <a:pt x="889569" y="195380"/>
                  <a:pt x="889569" y="126000"/>
                </a:cubicBezTo>
                <a:cubicBezTo>
                  <a:pt x="889569" y="56620"/>
                  <a:pt x="809355" y="0"/>
                  <a:pt x="711493" y="0"/>
                </a:cubicBezTo>
                <a:close/>
                <a:moveTo>
                  <a:pt x="711493" y="193785"/>
                </a:moveTo>
                <a:cubicBezTo>
                  <a:pt x="643312" y="193785"/>
                  <a:pt x="592778" y="157898"/>
                  <a:pt x="592778" y="126798"/>
                </a:cubicBezTo>
                <a:cubicBezTo>
                  <a:pt x="592778" y="95696"/>
                  <a:pt x="643312" y="59810"/>
                  <a:pt x="711493" y="59810"/>
                </a:cubicBezTo>
                <a:cubicBezTo>
                  <a:pt x="779675" y="59810"/>
                  <a:pt x="830208" y="95696"/>
                  <a:pt x="830208" y="126798"/>
                </a:cubicBezTo>
                <a:cubicBezTo>
                  <a:pt x="830208" y="157898"/>
                  <a:pt x="778873" y="193785"/>
                  <a:pt x="711493" y="193785"/>
                </a:cubicBezTo>
                <a:close/>
                <a:moveTo>
                  <a:pt x="1135821" y="5582"/>
                </a:moveTo>
                <a:cubicBezTo>
                  <a:pt x="1119780" y="5582"/>
                  <a:pt x="1106140" y="19139"/>
                  <a:pt x="1106140" y="35089"/>
                </a:cubicBezTo>
                <a:lnTo>
                  <a:pt x="1106140" y="133975"/>
                </a:lnTo>
                <a:lnTo>
                  <a:pt x="945718" y="7177"/>
                </a:lnTo>
                <a:cubicBezTo>
                  <a:pt x="940103" y="2392"/>
                  <a:pt x="932079" y="6380"/>
                  <a:pt x="932079" y="13557"/>
                </a:cubicBezTo>
                <a:lnTo>
                  <a:pt x="932079" y="216911"/>
                </a:lnTo>
                <a:cubicBezTo>
                  <a:pt x="932079" y="232861"/>
                  <a:pt x="945718" y="246417"/>
                  <a:pt x="961760" y="246417"/>
                </a:cubicBezTo>
                <a:cubicBezTo>
                  <a:pt x="977801" y="246417"/>
                  <a:pt x="991441" y="232861"/>
                  <a:pt x="991441" y="216911"/>
                </a:cubicBezTo>
                <a:lnTo>
                  <a:pt x="991441" y="118823"/>
                </a:lnTo>
                <a:lnTo>
                  <a:pt x="1151863" y="245620"/>
                </a:lnTo>
                <a:cubicBezTo>
                  <a:pt x="1157477" y="250405"/>
                  <a:pt x="1165502" y="246417"/>
                  <a:pt x="1165502" y="239240"/>
                </a:cubicBezTo>
                <a:lnTo>
                  <a:pt x="1165502" y="35089"/>
                </a:lnTo>
                <a:cubicBezTo>
                  <a:pt x="1165502" y="19139"/>
                  <a:pt x="1151863" y="5582"/>
                  <a:pt x="1135821" y="5582"/>
                </a:cubicBezTo>
                <a:close/>
                <a:moveTo>
                  <a:pt x="486896" y="188202"/>
                </a:moveTo>
                <a:lnTo>
                  <a:pt x="385827" y="188202"/>
                </a:lnTo>
                <a:lnTo>
                  <a:pt x="514168" y="19139"/>
                </a:lnTo>
                <a:cubicBezTo>
                  <a:pt x="518179" y="13557"/>
                  <a:pt x="514168" y="5582"/>
                  <a:pt x="507752" y="5582"/>
                </a:cubicBezTo>
                <a:lnTo>
                  <a:pt x="321656" y="5582"/>
                </a:lnTo>
                <a:cubicBezTo>
                  <a:pt x="305614" y="5582"/>
                  <a:pt x="291977" y="19139"/>
                  <a:pt x="291977" y="35089"/>
                </a:cubicBezTo>
                <a:cubicBezTo>
                  <a:pt x="291977" y="51038"/>
                  <a:pt x="305614" y="64595"/>
                  <a:pt x="321656" y="64595"/>
                </a:cubicBezTo>
                <a:lnTo>
                  <a:pt x="405881" y="64595"/>
                </a:lnTo>
                <a:lnTo>
                  <a:pt x="276737" y="233658"/>
                </a:lnTo>
                <a:cubicBezTo>
                  <a:pt x="272726" y="239240"/>
                  <a:pt x="276737" y="247215"/>
                  <a:pt x="283956" y="247215"/>
                </a:cubicBezTo>
                <a:lnTo>
                  <a:pt x="486896" y="247215"/>
                </a:lnTo>
                <a:cubicBezTo>
                  <a:pt x="502939" y="247215"/>
                  <a:pt x="516575" y="233658"/>
                  <a:pt x="516575" y="217709"/>
                </a:cubicBezTo>
                <a:cubicBezTo>
                  <a:pt x="516575" y="201760"/>
                  <a:pt x="502939" y="188202"/>
                  <a:pt x="486896" y="188202"/>
                </a:cubicBezTo>
                <a:close/>
              </a:path>
            </a:pathLst>
          </a:custGeom>
          <a:solidFill>
            <a:schemeClr val="bg1"/>
          </a:solidFill>
          <a:ln w="785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458CA0F-AA7A-3470-321F-E571C81EB4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55808" y="1931435"/>
            <a:ext cx="6340418" cy="2123348"/>
          </a:xfrm>
        </p:spPr>
        <p:txBody>
          <a:bodyPr vert="horz" anchor="b">
            <a:noAutofit/>
          </a:bodyPr>
          <a:lstStyle>
            <a:lvl1pPr algn="l">
              <a:lnSpc>
                <a:spcPct val="87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ru-RU"/>
              <a:t>Напиши призыв </a:t>
            </a:r>
            <a:br>
              <a:rPr lang="ru-RU"/>
            </a:br>
            <a:r>
              <a:rPr lang="ru-RU"/>
              <a:t>к действию</a:t>
            </a:r>
            <a:r>
              <a:rPr lang="en-US"/>
              <a:t> </a:t>
            </a:r>
            <a:r>
              <a:rPr lang="ru-RU"/>
              <a:t>в 2–3 строки</a:t>
            </a:r>
          </a:p>
        </p:txBody>
      </p:sp>
    </p:spTree>
    <p:extLst>
      <p:ext uri="{BB962C8B-B14F-4D97-AF65-F5344CB8AC3E}">
        <p14:creationId xmlns:p14="http://schemas.microsoft.com/office/powerpoint/2010/main" val="3017412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orient="horz" pos="268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E49329ED-88BB-C258-4171-C073E4805052}"/>
              </a:ext>
            </a:extLst>
          </p:cNvPr>
          <p:cNvSpPr/>
          <p:nvPr/>
        </p:nvSpPr>
        <p:spPr>
          <a:xfrm>
            <a:off x="639763" y="411163"/>
            <a:ext cx="10910887" cy="5851525"/>
          </a:xfrm>
          <a:prstGeom prst="roundRect">
            <a:avLst>
              <a:gd name="adj" fmla="val 10189"/>
            </a:avLst>
          </a:prstGeom>
          <a:gradFill>
            <a:gsLst>
              <a:gs pos="15000">
                <a:schemeClr val="accent1"/>
              </a:gs>
              <a:gs pos="95000">
                <a:schemeClr val="accent3"/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0" name="Слайд think-cell" r:id="rId14" imgW="233" imgH="233" progId="TCLayout.ActiveDocument.1">
                  <p:embed/>
                </p:oleObj>
              </mc:Choice>
              <mc:Fallback>
                <p:oleObj name="Слайд think-cell" r:id="rId14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E1F914-6E31-3D8A-0729-94C84B17961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6718" y="2152745"/>
            <a:ext cx="8206245" cy="2277549"/>
          </a:xfrm>
        </p:spPr>
        <p:txBody>
          <a:bodyPr vert="horz" anchor="b">
            <a:noAutofit/>
          </a:bodyPr>
          <a:lstStyle>
            <a:lvl1pPr algn="l">
              <a:lnSpc>
                <a:spcPct val="90000"/>
              </a:lnSpc>
              <a:defRPr sz="4800" spc="-50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Напиши смысловой заголовок презентации </a:t>
            </a:r>
            <a:br>
              <a:rPr lang="ru-RU"/>
            </a:br>
            <a:r>
              <a:rPr lang="ru-RU"/>
              <a:t>в 2–3 строки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4705255"/>
            <a:ext cx="8174332" cy="81756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Напиши подзаголовок презентации, имя спикера </a:t>
            </a:r>
            <a:br>
              <a:rPr lang="ru-RU"/>
            </a:br>
            <a:r>
              <a:rPr lang="ru-RU"/>
              <a:t>и другую дополнительную информацию</a:t>
            </a: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5AD7914A-6F7A-0AB4-0320-8B0610322AB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1" name="Слайд think-cell" r:id="rId16" imgW="233" imgH="233" progId="TCLayout.ActiveDocument.1">
                  <p:embed/>
                </p:oleObj>
              </mc:Choice>
              <mc:Fallback>
                <p:oleObj name="Слайд think-cell" r:id="rId16" imgW="233" imgH="2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5AD7914A-6F7A-0AB4-0320-8B0610322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15B33EE8-2A0C-A289-E633-0C1A78BC22F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2" name="Слайд think-cell" r:id="rId17" imgW="233" imgH="233" progId="TCLayout.ActiveDocument.1">
                  <p:embed/>
                </p:oleObj>
              </mc:Choice>
              <mc:Fallback>
                <p:oleObj name="Слайд think-cell" r:id="rId17" imgW="233" imgH="233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15B33EE8-2A0C-A289-E633-0C1A78BC22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EDB5745A-EB00-381B-6668-493769E30B62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3" name="Слайд think-cell" r:id="rId18" imgW="233" imgH="233" progId="TCLayout.ActiveDocument.1">
                  <p:embed/>
                </p:oleObj>
              </mc:Choice>
              <mc:Fallback>
                <p:oleObj name="Слайд think-cell" r:id="rId18" imgW="233" imgH="233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EDB5745A-EB00-381B-6668-493769E30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1A29F7CF-5EA7-385D-A6B8-3F74846ECFA0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4" name="Слайд think-cell" r:id="rId19" imgW="233" imgH="233" progId="TCLayout.ActiveDocument.1">
                  <p:embed/>
                </p:oleObj>
              </mc:Choice>
              <mc:Fallback>
                <p:oleObj name="Слайд think-cell" r:id="rId19" imgW="233" imgH="233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1A29F7CF-5EA7-385D-A6B8-3F74846EC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69EB17E6-0D76-E72E-817B-D0C2F75924C4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5" name="Слайд think-cell" r:id="rId20" imgW="233" imgH="233" progId="TCLayout.ActiveDocument.1">
                  <p:embed/>
                </p:oleObj>
              </mc:Choice>
              <mc:Fallback>
                <p:oleObj name="Слайд think-cell" r:id="rId20" imgW="233" imgH="23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id="{69EB17E6-0D76-E72E-817B-D0C2F7592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Объект 9" hidden="1">
            <a:extLst>
              <a:ext uri="{FF2B5EF4-FFF2-40B4-BE49-F238E27FC236}">
                <a16:creationId xmlns:a16="http://schemas.microsoft.com/office/drawing/2014/main" id="{A111C868-F548-CDE4-4C8F-957F32A69173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6" name="Слайд think-cell" r:id="rId21" imgW="233" imgH="233" progId="TCLayout.ActiveDocument.1">
                  <p:embed/>
                </p:oleObj>
              </mc:Choice>
              <mc:Fallback>
                <p:oleObj name="Слайд think-cell" r:id="rId21" imgW="233" imgH="233" progId="TCLayout.ActiveDocument.1">
                  <p:embed/>
                  <p:pic>
                    <p:nvPicPr>
                      <p:cNvPr id="10" name="Объект 9" hidden="1">
                        <a:extLst>
                          <a:ext uri="{FF2B5EF4-FFF2-40B4-BE49-F238E27FC236}">
                            <a16:creationId xmlns:a16="http://schemas.microsoft.com/office/drawing/2014/main" id="{A111C868-F548-CDE4-4C8F-957F32A691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5915CAD-91BC-0EC7-7D14-6FCC6EF3F283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7" name="Слайд think-cell" r:id="rId22" imgW="233" imgH="233" progId="TCLayout.ActiveDocument.1">
                  <p:embed/>
                </p:oleObj>
              </mc:Choice>
              <mc:Fallback>
                <p:oleObj name="Слайд think-cell" r:id="rId22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35915CAD-91BC-0EC7-7D14-6FCC6EF3F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6B49F19B-8C48-33CB-BF6F-83498DB8EA19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8" name="Слайд think-cell" r:id="rId23" imgW="233" imgH="233" progId="TCLayout.ActiveDocument.1">
                  <p:embed/>
                </p:oleObj>
              </mc:Choice>
              <mc:Fallback>
                <p:oleObj name="Слайд think-cell" r:id="rId23" imgW="233" imgH="233" progId="TCLayout.ActiveDocument.1">
                  <p:embed/>
                  <p:pic>
                    <p:nvPicPr>
                      <p:cNvPr id="11" name="Объект 10" hidden="1">
                        <a:extLst>
                          <a:ext uri="{FF2B5EF4-FFF2-40B4-BE49-F238E27FC236}">
                            <a16:creationId xmlns:a16="http://schemas.microsoft.com/office/drawing/2014/main" id="{6B49F19B-8C48-33CB-BF6F-83498DB8E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Объект 12" hidden="1">
            <a:extLst>
              <a:ext uri="{FF2B5EF4-FFF2-40B4-BE49-F238E27FC236}">
                <a16:creationId xmlns:a16="http://schemas.microsoft.com/office/drawing/2014/main" id="{D06FCB91-1283-7736-EEFE-502F0AEF6241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9" name="Слайд think-cell" r:id="rId24" imgW="233" imgH="233" progId="TCLayout.ActiveDocument.1">
                  <p:embed/>
                </p:oleObj>
              </mc:Choice>
              <mc:Fallback>
                <p:oleObj name="Слайд think-cell" r:id="rId24" imgW="233" imgH="233" progId="TCLayout.ActiveDocument.1">
                  <p:embed/>
                  <p:pic>
                    <p:nvPicPr>
                      <p:cNvPr id="13" name="Объект 12" hidden="1">
                        <a:extLst>
                          <a:ext uri="{FF2B5EF4-FFF2-40B4-BE49-F238E27FC236}">
                            <a16:creationId xmlns:a16="http://schemas.microsoft.com/office/drawing/2014/main" id="{D06FCB91-1283-7736-EEFE-502F0AEF62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970EB312-66D1-9625-3377-075970721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0" name="Слайд think-cell" r:id="rId25" imgW="233" imgH="233" progId="TCLayout.ActiveDocument.1">
                  <p:embed/>
                </p:oleObj>
              </mc:Choice>
              <mc:Fallback>
                <p:oleObj name="Слайд think-cell" r:id="rId25" imgW="233" imgH="233" progId="TCLayout.ActiveDocument.1">
                  <p:embed/>
                  <p:pic>
                    <p:nvPicPr>
                      <p:cNvPr id="14" name="Объект 13" hidden="1">
                        <a:extLst>
                          <a:ext uri="{FF2B5EF4-FFF2-40B4-BE49-F238E27FC236}">
                            <a16:creationId xmlns:a16="http://schemas.microsoft.com/office/drawing/2014/main" id="{970EB312-66D1-9625-3377-075970721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Рисунок 7">
            <a:extLst>
              <a:ext uri="{FF2B5EF4-FFF2-40B4-BE49-F238E27FC236}">
                <a16:creationId xmlns:a16="http://schemas.microsoft.com/office/drawing/2014/main" id="{9CBACDB5-46BD-21E4-9D73-0D0F20F6725A}"/>
              </a:ext>
            </a:extLst>
          </p:cNvPr>
          <p:cNvSpPr/>
          <p:nvPr userDrawn="1"/>
        </p:nvSpPr>
        <p:spPr>
          <a:xfrm>
            <a:off x="1541812" y="1009909"/>
            <a:ext cx="1165502" cy="252000"/>
          </a:xfrm>
          <a:custGeom>
            <a:avLst/>
            <a:gdLst>
              <a:gd name="connsiteX0" fmla="*/ 126737 w 1165502"/>
              <a:gd name="connsiteY0" fmla="*/ 0 h 252000"/>
              <a:gd name="connsiteX1" fmla="*/ 0 w 1165502"/>
              <a:gd name="connsiteY1" fmla="*/ 126000 h 252000"/>
              <a:gd name="connsiteX2" fmla="*/ 126737 w 1165502"/>
              <a:gd name="connsiteY2" fmla="*/ 252000 h 252000"/>
              <a:gd name="connsiteX3" fmla="*/ 253475 w 1165502"/>
              <a:gd name="connsiteY3" fmla="*/ 126000 h 252000"/>
              <a:gd name="connsiteX4" fmla="*/ 126737 w 1165502"/>
              <a:gd name="connsiteY4" fmla="*/ 0 h 252000"/>
              <a:gd name="connsiteX5" fmla="*/ 126737 w 1165502"/>
              <a:gd name="connsiteY5" fmla="*/ 193785 h 252000"/>
              <a:gd name="connsiteX6" fmla="*/ 58556 w 1165502"/>
              <a:gd name="connsiteY6" fmla="*/ 126000 h 252000"/>
              <a:gd name="connsiteX7" fmla="*/ 126737 w 1165502"/>
              <a:gd name="connsiteY7" fmla="*/ 58215 h 252000"/>
              <a:gd name="connsiteX8" fmla="*/ 194918 w 1165502"/>
              <a:gd name="connsiteY8" fmla="*/ 126000 h 252000"/>
              <a:gd name="connsiteX9" fmla="*/ 126737 w 1165502"/>
              <a:gd name="connsiteY9" fmla="*/ 193785 h 252000"/>
              <a:gd name="connsiteX10" fmla="*/ 711493 w 1165502"/>
              <a:gd name="connsiteY10" fmla="*/ 0 h 252000"/>
              <a:gd name="connsiteX11" fmla="*/ 533420 w 1165502"/>
              <a:gd name="connsiteY11" fmla="*/ 126000 h 252000"/>
              <a:gd name="connsiteX12" fmla="*/ 711493 w 1165502"/>
              <a:gd name="connsiteY12" fmla="*/ 252000 h 252000"/>
              <a:gd name="connsiteX13" fmla="*/ 889569 w 1165502"/>
              <a:gd name="connsiteY13" fmla="*/ 126000 h 252000"/>
              <a:gd name="connsiteX14" fmla="*/ 711493 w 1165502"/>
              <a:gd name="connsiteY14" fmla="*/ 0 h 252000"/>
              <a:gd name="connsiteX15" fmla="*/ 711493 w 1165502"/>
              <a:gd name="connsiteY15" fmla="*/ 193785 h 252000"/>
              <a:gd name="connsiteX16" fmla="*/ 592778 w 1165502"/>
              <a:gd name="connsiteY16" fmla="*/ 126798 h 252000"/>
              <a:gd name="connsiteX17" fmla="*/ 711493 w 1165502"/>
              <a:gd name="connsiteY17" fmla="*/ 59810 h 252000"/>
              <a:gd name="connsiteX18" fmla="*/ 830208 w 1165502"/>
              <a:gd name="connsiteY18" fmla="*/ 126798 h 252000"/>
              <a:gd name="connsiteX19" fmla="*/ 711493 w 1165502"/>
              <a:gd name="connsiteY19" fmla="*/ 193785 h 252000"/>
              <a:gd name="connsiteX20" fmla="*/ 1135821 w 1165502"/>
              <a:gd name="connsiteY20" fmla="*/ 5582 h 252000"/>
              <a:gd name="connsiteX21" fmla="*/ 1106140 w 1165502"/>
              <a:gd name="connsiteY21" fmla="*/ 35089 h 252000"/>
              <a:gd name="connsiteX22" fmla="*/ 1106140 w 1165502"/>
              <a:gd name="connsiteY22" fmla="*/ 133975 h 252000"/>
              <a:gd name="connsiteX23" fmla="*/ 945718 w 1165502"/>
              <a:gd name="connsiteY23" fmla="*/ 7177 h 252000"/>
              <a:gd name="connsiteX24" fmla="*/ 932079 w 1165502"/>
              <a:gd name="connsiteY24" fmla="*/ 13557 h 252000"/>
              <a:gd name="connsiteX25" fmla="*/ 932079 w 1165502"/>
              <a:gd name="connsiteY25" fmla="*/ 216911 h 252000"/>
              <a:gd name="connsiteX26" fmla="*/ 961760 w 1165502"/>
              <a:gd name="connsiteY26" fmla="*/ 246417 h 252000"/>
              <a:gd name="connsiteX27" fmla="*/ 991441 w 1165502"/>
              <a:gd name="connsiteY27" fmla="*/ 216911 h 252000"/>
              <a:gd name="connsiteX28" fmla="*/ 991441 w 1165502"/>
              <a:gd name="connsiteY28" fmla="*/ 118823 h 252000"/>
              <a:gd name="connsiteX29" fmla="*/ 1151863 w 1165502"/>
              <a:gd name="connsiteY29" fmla="*/ 245620 h 252000"/>
              <a:gd name="connsiteX30" fmla="*/ 1165502 w 1165502"/>
              <a:gd name="connsiteY30" fmla="*/ 239240 h 252000"/>
              <a:gd name="connsiteX31" fmla="*/ 1165502 w 1165502"/>
              <a:gd name="connsiteY31" fmla="*/ 35089 h 252000"/>
              <a:gd name="connsiteX32" fmla="*/ 1135821 w 1165502"/>
              <a:gd name="connsiteY32" fmla="*/ 5582 h 252000"/>
              <a:gd name="connsiteX33" fmla="*/ 486896 w 1165502"/>
              <a:gd name="connsiteY33" fmla="*/ 188202 h 252000"/>
              <a:gd name="connsiteX34" fmla="*/ 385827 w 1165502"/>
              <a:gd name="connsiteY34" fmla="*/ 188202 h 252000"/>
              <a:gd name="connsiteX35" fmla="*/ 514168 w 1165502"/>
              <a:gd name="connsiteY35" fmla="*/ 19139 h 252000"/>
              <a:gd name="connsiteX36" fmla="*/ 507752 w 1165502"/>
              <a:gd name="connsiteY36" fmla="*/ 5582 h 252000"/>
              <a:gd name="connsiteX37" fmla="*/ 321656 w 1165502"/>
              <a:gd name="connsiteY37" fmla="*/ 5582 h 252000"/>
              <a:gd name="connsiteX38" fmla="*/ 291977 w 1165502"/>
              <a:gd name="connsiteY38" fmla="*/ 35089 h 252000"/>
              <a:gd name="connsiteX39" fmla="*/ 321656 w 1165502"/>
              <a:gd name="connsiteY39" fmla="*/ 64595 h 252000"/>
              <a:gd name="connsiteX40" fmla="*/ 405881 w 1165502"/>
              <a:gd name="connsiteY40" fmla="*/ 64595 h 252000"/>
              <a:gd name="connsiteX41" fmla="*/ 276737 w 1165502"/>
              <a:gd name="connsiteY41" fmla="*/ 233658 h 252000"/>
              <a:gd name="connsiteX42" fmla="*/ 283956 w 1165502"/>
              <a:gd name="connsiteY42" fmla="*/ 247215 h 252000"/>
              <a:gd name="connsiteX43" fmla="*/ 486896 w 1165502"/>
              <a:gd name="connsiteY43" fmla="*/ 247215 h 252000"/>
              <a:gd name="connsiteX44" fmla="*/ 516575 w 1165502"/>
              <a:gd name="connsiteY44" fmla="*/ 217709 h 252000"/>
              <a:gd name="connsiteX45" fmla="*/ 486896 w 1165502"/>
              <a:gd name="connsiteY45" fmla="*/ 188202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165502" h="252000">
                <a:moveTo>
                  <a:pt x="126737" y="0"/>
                </a:moveTo>
                <a:cubicBezTo>
                  <a:pt x="56952" y="0"/>
                  <a:pt x="0" y="56620"/>
                  <a:pt x="0" y="126000"/>
                </a:cubicBezTo>
                <a:cubicBezTo>
                  <a:pt x="0" y="195380"/>
                  <a:pt x="56952" y="252000"/>
                  <a:pt x="126737" y="252000"/>
                </a:cubicBezTo>
                <a:cubicBezTo>
                  <a:pt x="197325" y="252000"/>
                  <a:pt x="253475" y="195380"/>
                  <a:pt x="253475" y="126000"/>
                </a:cubicBezTo>
                <a:cubicBezTo>
                  <a:pt x="253475" y="56620"/>
                  <a:pt x="197325" y="0"/>
                  <a:pt x="126737" y="0"/>
                </a:cubicBezTo>
                <a:close/>
                <a:moveTo>
                  <a:pt x="126737" y="193785"/>
                </a:moveTo>
                <a:cubicBezTo>
                  <a:pt x="89037" y="193785"/>
                  <a:pt x="58556" y="163481"/>
                  <a:pt x="58556" y="126000"/>
                </a:cubicBezTo>
                <a:cubicBezTo>
                  <a:pt x="58556" y="88519"/>
                  <a:pt x="89037" y="58215"/>
                  <a:pt x="126737" y="58215"/>
                </a:cubicBezTo>
                <a:cubicBezTo>
                  <a:pt x="164437" y="58215"/>
                  <a:pt x="194918" y="88519"/>
                  <a:pt x="194918" y="126000"/>
                </a:cubicBezTo>
                <a:cubicBezTo>
                  <a:pt x="194918" y="163481"/>
                  <a:pt x="164437" y="193785"/>
                  <a:pt x="126737" y="193785"/>
                </a:cubicBezTo>
                <a:close/>
                <a:moveTo>
                  <a:pt x="711493" y="0"/>
                </a:moveTo>
                <a:cubicBezTo>
                  <a:pt x="612831" y="0"/>
                  <a:pt x="533420" y="56620"/>
                  <a:pt x="533420" y="126000"/>
                </a:cubicBezTo>
                <a:cubicBezTo>
                  <a:pt x="533420" y="195380"/>
                  <a:pt x="612831" y="252000"/>
                  <a:pt x="711493" y="252000"/>
                </a:cubicBezTo>
                <a:cubicBezTo>
                  <a:pt x="810158" y="252000"/>
                  <a:pt x="889569" y="195380"/>
                  <a:pt x="889569" y="126000"/>
                </a:cubicBezTo>
                <a:cubicBezTo>
                  <a:pt x="889569" y="56620"/>
                  <a:pt x="809355" y="0"/>
                  <a:pt x="711493" y="0"/>
                </a:cubicBezTo>
                <a:close/>
                <a:moveTo>
                  <a:pt x="711493" y="193785"/>
                </a:moveTo>
                <a:cubicBezTo>
                  <a:pt x="643312" y="193785"/>
                  <a:pt x="592778" y="157898"/>
                  <a:pt x="592778" y="126798"/>
                </a:cubicBezTo>
                <a:cubicBezTo>
                  <a:pt x="592778" y="95696"/>
                  <a:pt x="643312" y="59810"/>
                  <a:pt x="711493" y="59810"/>
                </a:cubicBezTo>
                <a:cubicBezTo>
                  <a:pt x="779675" y="59810"/>
                  <a:pt x="830208" y="95696"/>
                  <a:pt x="830208" y="126798"/>
                </a:cubicBezTo>
                <a:cubicBezTo>
                  <a:pt x="830208" y="157898"/>
                  <a:pt x="778873" y="193785"/>
                  <a:pt x="711493" y="193785"/>
                </a:cubicBezTo>
                <a:close/>
                <a:moveTo>
                  <a:pt x="1135821" y="5582"/>
                </a:moveTo>
                <a:cubicBezTo>
                  <a:pt x="1119780" y="5582"/>
                  <a:pt x="1106140" y="19139"/>
                  <a:pt x="1106140" y="35089"/>
                </a:cubicBezTo>
                <a:lnTo>
                  <a:pt x="1106140" y="133975"/>
                </a:lnTo>
                <a:lnTo>
                  <a:pt x="945718" y="7177"/>
                </a:lnTo>
                <a:cubicBezTo>
                  <a:pt x="940103" y="2392"/>
                  <a:pt x="932079" y="6380"/>
                  <a:pt x="932079" y="13557"/>
                </a:cubicBezTo>
                <a:lnTo>
                  <a:pt x="932079" y="216911"/>
                </a:lnTo>
                <a:cubicBezTo>
                  <a:pt x="932079" y="232861"/>
                  <a:pt x="945718" y="246417"/>
                  <a:pt x="961760" y="246417"/>
                </a:cubicBezTo>
                <a:cubicBezTo>
                  <a:pt x="977801" y="246417"/>
                  <a:pt x="991441" y="232861"/>
                  <a:pt x="991441" y="216911"/>
                </a:cubicBezTo>
                <a:lnTo>
                  <a:pt x="991441" y="118823"/>
                </a:lnTo>
                <a:lnTo>
                  <a:pt x="1151863" y="245620"/>
                </a:lnTo>
                <a:cubicBezTo>
                  <a:pt x="1157477" y="250405"/>
                  <a:pt x="1165502" y="246417"/>
                  <a:pt x="1165502" y="239240"/>
                </a:cubicBezTo>
                <a:lnTo>
                  <a:pt x="1165502" y="35089"/>
                </a:lnTo>
                <a:cubicBezTo>
                  <a:pt x="1165502" y="19139"/>
                  <a:pt x="1151863" y="5582"/>
                  <a:pt x="1135821" y="5582"/>
                </a:cubicBezTo>
                <a:close/>
                <a:moveTo>
                  <a:pt x="486896" y="188202"/>
                </a:moveTo>
                <a:lnTo>
                  <a:pt x="385827" y="188202"/>
                </a:lnTo>
                <a:lnTo>
                  <a:pt x="514168" y="19139"/>
                </a:lnTo>
                <a:cubicBezTo>
                  <a:pt x="518179" y="13557"/>
                  <a:pt x="514168" y="5582"/>
                  <a:pt x="507752" y="5582"/>
                </a:cubicBezTo>
                <a:lnTo>
                  <a:pt x="321656" y="5582"/>
                </a:lnTo>
                <a:cubicBezTo>
                  <a:pt x="305614" y="5582"/>
                  <a:pt x="291977" y="19139"/>
                  <a:pt x="291977" y="35089"/>
                </a:cubicBezTo>
                <a:cubicBezTo>
                  <a:pt x="291977" y="51038"/>
                  <a:pt x="305614" y="64595"/>
                  <a:pt x="321656" y="64595"/>
                </a:cubicBezTo>
                <a:lnTo>
                  <a:pt x="405881" y="64595"/>
                </a:lnTo>
                <a:lnTo>
                  <a:pt x="276737" y="233658"/>
                </a:lnTo>
                <a:cubicBezTo>
                  <a:pt x="272726" y="239240"/>
                  <a:pt x="276737" y="247215"/>
                  <a:pt x="283956" y="247215"/>
                </a:cubicBezTo>
                <a:lnTo>
                  <a:pt x="486896" y="247215"/>
                </a:lnTo>
                <a:cubicBezTo>
                  <a:pt x="502939" y="247215"/>
                  <a:pt x="516575" y="233658"/>
                  <a:pt x="516575" y="217709"/>
                </a:cubicBezTo>
                <a:cubicBezTo>
                  <a:pt x="516575" y="201760"/>
                  <a:pt x="502939" y="188202"/>
                  <a:pt x="486896" y="188202"/>
                </a:cubicBezTo>
                <a:close/>
              </a:path>
            </a:pathLst>
          </a:custGeom>
          <a:solidFill>
            <a:schemeClr val="bg1"/>
          </a:solidFill>
          <a:ln w="785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194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004713AF-D063-DFE4-ED3B-97811EE849CE}"/>
              </a:ext>
            </a:extLst>
          </p:cNvPr>
          <p:cNvSpPr/>
          <p:nvPr/>
        </p:nvSpPr>
        <p:spPr>
          <a:xfrm>
            <a:off x="639762" y="411162"/>
            <a:ext cx="1496947" cy="5851525"/>
          </a:xfrm>
          <a:prstGeom prst="roundRect">
            <a:avLst>
              <a:gd name="adj" fmla="val 27375"/>
            </a:avLst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endParaRPr lang="ru-RU" sz="1400" err="1"/>
          </a:p>
        </p:txBody>
      </p: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DE8E5C46-0B07-7F57-D5C9-A6D773A2F183}"/>
              </a:ext>
            </a:extLst>
          </p:cNvPr>
          <p:cNvSpPr/>
          <p:nvPr/>
        </p:nvSpPr>
        <p:spPr>
          <a:xfrm>
            <a:off x="2457451" y="411163"/>
            <a:ext cx="8185150" cy="5851526"/>
          </a:xfrm>
          <a:prstGeom prst="roundRect">
            <a:avLst>
              <a:gd name="adj" fmla="val 6773"/>
            </a:avLst>
          </a:prstGeom>
          <a:gradFill>
            <a:gsLst>
              <a:gs pos="15000">
                <a:schemeClr val="accent1"/>
              </a:gs>
              <a:gs pos="85000">
                <a:schemeClr val="accent3"/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8047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0" name="Слайд think-cell" r:id="rId4" imgW="233" imgH="233" progId="TCLayout.ActiveDocument.1">
                  <p:embed/>
                </p:oleObj>
              </mc:Choice>
              <mc:Fallback>
                <p:oleObj name="Слайд think-cell" r:id="rId4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екст 5">
            <a:extLst>
              <a:ext uri="{FF2B5EF4-FFF2-40B4-BE49-F238E27FC236}">
                <a16:creationId xmlns:a16="http://schemas.microsoft.com/office/drawing/2014/main" id="{12F0BAE5-9B94-D517-7A49-4E7BBC7BB9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4284" y="1739217"/>
            <a:ext cx="1087903" cy="743655"/>
          </a:xfrm>
        </p:spPr>
        <p:txBody>
          <a:bodyPr anchor="t"/>
          <a:lstStyle>
            <a:lvl1pPr algn="ctr">
              <a:defRPr sz="6000" b="1" spc="-2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  <a:endParaRPr lang="ru-RU"/>
          </a:p>
        </p:txBody>
      </p:sp>
      <p:sp>
        <p:nvSpPr>
          <p:cNvPr id="8" name="Текст 8">
            <a:extLst>
              <a:ext uri="{FF2B5EF4-FFF2-40B4-BE49-F238E27FC236}">
                <a16:creationId xmlns:a16="http://schemas.microsoft.com/office/drawing/2014/main" id="{9DD477A7-0F1C-B92E-5302-1F26D4F1EE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79573" y="1767569"/>
            <a:ext cx="6353390" cy="2341562"/>
          </a:xfrm>
        </p:spPr>
        <p:txBody>
          <a:bodyPr/>
          <a:lstStyle>
            <a:lvl1pPr>
              <a:spcAft>
                <a:spcPts val="0"/>
              </a:spcAft>
              <a:defRPr sz="4000" b="1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Напиши смысловой заголовок раздела </a:t>
            </a:r>
            <a:br>
              <a:rPr lang="ru-RU"/>
            </a:br>
            <a:r>
              <a:rPr lang="ru-RU"/>
              <a:t>в 2–3 строки</a:t>
            </a:r>
          </a:p>
        </p:txBody>
      </p:sp>
    </p:spTree>
    <p:extLst>
      <p:ext uri="{BB962C8B-B14F-4D97-AF65-F5344CB8AC3E}">
        <p14:creationId xmlns:p14="http://schemas.microsoft.com/office/powerpoint/2010/main" val="42256177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vmlDrawing" Target="../drawings/vmlDrawing19.v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oleObject" Target="../embeddings/oleObject39.bin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>
            <a:extLst>
              <a:ext uri="{FF2B5EF4-FFF2-40B4-BE49-F238E27FC236}">
                <a16:creationId xmlns:a16="http://schemas.microsoft.com/office/drawing/2014/main" id="{0313FEF4-EFA5-F998-F890-8EDC7FD4935F}"/>
              </a:ext>
            </a:extLst>
          </p:cNvPr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840332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" name="Слайд think-cell" r:id="rId23" imgW="233" imgH="233" progId="TCLayout.ActiveDocument.1">
                  <p:embed/>
                </p:oleObj>
              </mc:Choice>
              <mc:Fallback>
                <p:oleObj name="Слайд think-cell" r:id="rId23" imgW="233" imgH="233" progId="TCLayout.ActiveDocument.1">
                  <p:embed/>
                  <p:pic>
                    <p:nvPicPr>
                      <p:cNvPr id="16" name="Объект 15" hidden="1">
                        <a:extLst>
                          <a:ext uri="{FF2B5EF4-FFF2-40B4-BE49-F238E27FC236}">
                            <a16:creationId xmlns:a16="http://schemas.microsoft.com/office/drawing/2014/main" id="{0313FEF4-EFA5-F998-F890-8EDC7FD493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E946391-FC95-6108-BE64-E793A095D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ru-RU"/>
              <a:t>Образец </a:t>
            </a:r>
            <a:br>
              <a:rPr lang="ru-RU"/>
            </a:br>
            <a:r>
              <a:rPr lang="ru-RU"/>
              <a:t>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3015302-E613-3B7A-0750-0AE24E6F54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9764" y="1447801"/>
            <a:ext cx="10002836" cy="42325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ёртый уровень</a:t>
            </a:r>
          </a:p>
          <a:p>
            <a:pPr lvl="4"/>
            <a:r>
              <a:rPr lang="ru-RU"/>
              <a:t>Пятый уровень</a:t>
            </a:r>
          </a:p>
          <a:p>
            <a:pPr lvl="5"/>
            <a:r>
              <a:rPr lang="ru-RU"/>
              <a:t>Шестой уровень</a:t>
            </a:r>
          </a:p>
          <a:p>
            <a:pPr lvl="6"/>
            <a:r>
              <a:rPr lang="ru-RU"/>
              <a:t>Седьмой уровень</a:t>
            </a:r>
          </a:p>
          <a:p>
            <a:pPr lvl="7"/>
            <a:r>
              <a:rPr lang="ru-RU"/>
              <a:t>Восьмой уровень</a:t>
            </a:r>
          </a:p>
          <a:p>
            <a:pPr lvl="8"/>
            <a:r>
              <a:rPr lang="ru-RU"/>
              <a:t>Дев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53D03FA-A34D-BF86-A761-ACA475F2CD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9763" y="6422078"/>
            <a:ext cx="7559675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2392AA5-C52C-BAA9-4852-A790EECFD0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7450" y="6458078"/>
            <a:ext cx="27432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9880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5" r:id="rId4"/>
    <p:sldLayoutId id="2147483846" r:id="rId5"/>
    <p:sldLayoutId id="2147483847" r:id="rId6"/>
    <p:sldLayoutId id="2147483840" r:id="rId7"/>
    <p:sldLayoutId id="2147483841" r:id="rId8"/>
    <p:sldLayoutId id="2147483842" r:id="rId9"/>
    <p:sldLayoutId id="2147483843" r:id="rId10"/>
    <p:sldLayoutId id="2147483849" r:id="rId11"/>
    <p:sldLayoutId id="2147483850" r:id="rId12"/>
    <p:sldLayoutId id="2147483851" r:id="rId13"/>
    <p:sldLayoutId id="2147483844" r:id="rId14"/>
    <p:sldLayoutId id="2147483853" r:id="rId15"/>
    <p:sldLayoutId id="2147483848" r:id="rId16"/>
    <p:sldLayoutId id="2147483854" r:id="rId17"/>
    <p:sldLayoutId id="2147483855" r:id="rId18"/>
    <p:sldLayoutId id="2147483852" r:id="rId19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269875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46088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96000" indent="-126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1" userDrawn="1">
          <p15:clr>
            <a:srgbClr val="9BADC0"/>
          </p15:clr>
        </p15:guide>
        <p15:guide id="72" pos="7680" userDrawn="1">
          <p15:clr>
            <a:srgbClr val="9BADC0"/>
          </p15:clr>
        </p15:guide>
        <p15:guide id="73" pos="403" userDrawn="1">
          <p15:clr>
            <a:srgbClr val="F26B43"/>
          </p15:clr>
        </p15:guide>
        <p15:guide id="74" pos="976" userDrawn="1">
          <p15:clr>
            <a:srgbClr val="9BADC0"/>
          </p15:clr>
        </p15:guide>
        <p15:guide id="75" pos="1548" userDrawn="1">
          <p15:clr>
            <a:srgbClr val="9BADC0"/>
          </p15:clr>
        </p15:guide>
        <p15:guide id="76" pos="2121" userDrawn="1">
          <p15:clr>
            <a:srgbClr val="9BADC0"/>
          </p15:clr>
        </p15:guide>
        <p15:guide id="77" pos="2694" userDrawn="1">
          <p15:clr>
            <a:srgbClr val="9BADC0"/>
          </p15:clr>
        </p15:guide>
        <p15:guide id="78" pos="3267" userDrawn="1">
          <p15:clr>
            <a:srgbClr val="9BADC0"/>
          </p15:clr>
        </p15:guide>
        <p15:guide id="79" pos="3840" userDrawn="1">
          <p15:clr>
            <a:srgbClr val="9BADC0"/>
          </p15:clr>
        </p15:guide>
        <p15:guide id="80" pos="4412" userDrawn="1">
          <p15:clr>
            <a:srgbClr val="9BADC0"/>
          </p15:clr>
        </p15:guide>
        <p15:guide id="81" pos="4985" userDrawn="1">
          <p15:clr>
            <a:srgbClr val="9BADC0"/>
          </p15:clr>
        </p15:guide>
        <p15:guide id="82" pos="5558" userDrawn="1">
          <p15:clr>
            <a:srgbClr val="9BADC0"/>
          </p15:clr>
        </p15:guide>
        <p15:guide id="83" pos="6131" userDrawn="1">
          <p15:clr>
            <a:srgbClr val="9BADC0"/>
          </p15:clr>
        </p15:guide>
        <p15:guide id="84" pos="6704" userDrawn="1">
          <p15:clr>
            <a:srgbClr val="9BADC0"/>
          </p15:clr>
        </p15:guide>
        <p15:guide id="85" pos="7276" userDrawn="1">
          <p15:clr>
            <a:srgbClr val="F26B43"/>
          </p15:clr>
        </p15:guide>
        <p15:guide id="86" orient="horz" pos="259" userDrawn="1">
          <p15:clr>
            <a:srgbClr val="F26B43"/>
          </p15:clr>
        </p15:guide>
        <p15:guide id="87" orient="horz" pos="394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>
            <a:extLst>
              <a:ext uri="{FF2B5EF4-FFF2-40B4-BE49-F238E27FC236}">
                <a16:creationId xmlns:a16="http://schemas.microsoft.com/office/drawing/2014/main" id="{0313FEF4-EFA5-F998-F890-8EDC7FD4935F}"/>
              </a:ext>
            </a:extLst>
          </p:cNvPr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0" name="Слайд think-cell" r:id="rId23" imgW="233" imgH="233" progId="TCLayout.ActiveDocument.1">
                  <p:embed/>
                </p:oleObj>
              </mc:Choice>
              <mc:Fallback>
                <p:oleObj name="Слайд think-cell" r:id="rId23" imgW="233" imgH="233" progId="TCLayout.ActiveDocument.1">
                  <p:embed/>
                  <p:pic>
                    <p:nvPicPr>
                      <p:cNvPr id="16" name="Объект 15" hidden="1">
                        <a:extLst>
                          <a:ext uri="{FF2B5EF4-FFF2-40B4-BE49-F238E27FC236}">
                            <a16:creationId xmlns:a16="http://schemas.microsoft.com/office/drawing/2014/main" id="{0313FEF4-EFA5-F998-F890-8EDC7FD493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E946391-FC95-6108-BE64-E793A095D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ru-RU"/>
              <a:t>Образец </a:t>
            </a:r>
            <a:br>
              <a:rPr lang="ru-RU"/>
            </a:br>
            <a:r>
              <a:rPr lang="ru-RU"/>
              <a:t>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3015302-E613-3B7A-0750-0AE24E6F54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9764" y="1447801"/>
            <a:ext cx="10002836" cy="42325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ёртый уровень</a:t>
            </a:r>
          </a:p>
          <a:p>
            <a:pPr lvl="4"/>
            <a:r>
              <a:rPr lang="ru-RU"/>
              <a:t>Пятый уровень</a:t>
            </a:r>
          </a:p>
          <a:p>
            <a:pPr lvl="5"/>
            <a:r>
              <a:rPr lang="ru-RU"/>
              <a:t>Шестой уровень</a:t>
            </a:r>
          </a:p>
          <a:p>
            <a:pPr lvl="6"/>
            <a:r>
              <a:rPr lang="ru-RU"/>
              <a:t>Седьмой уровень</a:t>
            </a:r>
          </a:p>
          <a:p>
            <a:pPr lvl="7"/>
            <a:r>
              <a:rPr lang="ru-RU"/>
              <a:t>Восьмой уровень</a:t>
            </a:r>
          </a:p>
          <a:p>
            <a:pPr lvl="8"/>
            <a:r>
              <a:rPr lang="ru-RU"/>
              <a:t>Дев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53D03FA-A34D-BF86-A761-ACA475F2CD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9763" y="6422078"/>
            <a:ext cx="7559675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2392AA5-C52C-BAA9-4852-A790EECFD0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7450" y="6458078"/>
            <a:ext cx="27432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5433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8" r:id="rId12"/>
    <p:sldLayoutId id="2147483869" r:id="rId13"/>
    <p:sldLayoutId id="2147483870" r:id="rId14"/>
    <p:sldLayoutId id="2147483871" r:id="rId15"/>
    <p:sldLayoutId id="2147483872" r:id="rId16"/>
    <p:sldLayoutId id="2147483873" r:id="rId17"/>
    <p:sldLayoutId id="2147483874" r:id="rId18"/>
    <p:sldLayoutId id="2147483875" r:id="rId19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269875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46088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96000" indent="-126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1">
          <p15:clr>
            <a:srgbClr val="9BADC0"/>
          </p15:clr>
        </p15:guide>
        <p15:guide id="72" pos="7680">
          <p15:clr>
            <a:srgbClr val="9BADC0"/>
          </p15:clr>
        </p15:guide>
        <p15:guide id="73" pos="403">
          <p15:clr>
            <a:srgbClr val="F26B43"/>
          </p15:clr>
        </p15:guide>
        <p15:guide id="74" pos="976">
          <p15:clr>
            <a:srgbClr val="9BADC0"/>
          </p15:clr>
        </p15:guide>
        <p15:guide id="75" pos="1548">
          <p15:clr>
            <a:srgbClr val="9BADC0"/>
          </p15:clr>
        </p15:guide>
        <p15:guide id="76" pos="2121">
          <p15:clr>
            <a:srgbClr val="9BADC0"/>
          </p15:clr>
        </p15:guide>
        <p15:guide id="77" pos="2694">
          <p15:clr>
            <a:srgbClr val="9BADC0"/>
          </p15:clr>
        </p15:guide>
        <p15:guide id="78" pos="3267">
          <p15:clr>
            <a:srgbClr val="9BADC0"/>
          </p15:clr>
        </p15:guide>
        <p15:guide id="79" pos="3840">
          <p15:clr>
            <a:srgbClr val="9BADC0"/>
          </p15:clr>
        </p15:guide>
        <p15:guide id="80" pos="4412">
          <p15:clr>
            <a:srgbClr val="9BADC0"/>
          </p15:clr>
        </p15:guide>
        <p15:guide id="81" pos="4985">
          <p15:clr>
            <a:srgbClr val="9BADC0"/>
          </p15:clr>
        </p15:guide>
        <p15:guide id="82" pos="5558">
          <p15:clr>
            <a:srgbClr val="9BADC0"/>
          </p15:clr>
        </p15:guide>
        <p15:guide id="83" pos="6131">
          <p15:clr>
            <a:srgbClr val="9BADC0"/>
          </p15:clr>
        </p15:guide>
        <p15:guide id="84" pos="6704">
          <p15:clr>
            <a:srgbClr val="9BADC0"/>
          </p15:clr>
        </p15:guide>
        <p15:guide id="85" pos="7276">
          <p15:clr>
            <a:srgbClr val="F26B43"/>
          </p15:clr>
        </p15:guide>
        <p15:guide id="86" orient="horz" pos="259">
          <p15:clr>
            <a:srgbClr val="F26B43"/>
          </p15:clr>
        </p15:guide>
        <p15:guide id="87" orient="horz" pos="39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www.ozon.ru/" TargetMode="Externa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1">
            <a:extLst>
              <a:ext uri="{FF2B5EF4-FFF2-40B4-BE49-F238E27FC236}">
                <a16:creationId xmlns:a16="http://schemas.microsoft.com/office/drawing/2014/main" id="{0840D2F8-D472-4145-8F0D-DDF6D2B1DBE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/>
              <a:t>Рябков </a:t>
            </a:r>
            <a:r>
              <a:rPr lang="ru-RU" dirty="0" err="1"/>
              <a:t>константин</a:t>
            </a:r>
            <a:r>
              <a:rPr lang="ru-RU" dirty="0"/>
              <a:t> </a:t>
            </a:r>
            <a:br>
              <a:rPr lang="ru-RU" dirty="0"/>
            </a:br>
            <a:r>
              <a:rPr lang="en-US" dirty="0"/>
              <a:t>kryabkov@ozon.ru</a:t>
            </a:r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C118085D-D60C-49A6-A011-BE885677AA8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Аналитика категории канцелярские товары на </a:t>
            </a:r>
            <a:r>
              <a:rPr lang="en-US" dirty="0"/>
              <a:t>Ozon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150371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>
            <a:extLst>
              <a:ext uri="{FF2B5EF4-FFF2-40B4-BE49-F238E27FC236}">
                <a16:creationId xmlns:a16="http://schemas.microsoft.com/office/drawing/2014/main" id="{93767D4F-D831-469D-A74F-70EA074292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4" y="1533990"/>
            <a:ext cx="8182800" cy="4728698"/>
          </a:xfrm>
          <a:ln>
            <a:noFill/>
          </a:ln>
        </p:spPr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0697DE4E-0EEC-48E7-8781-8310F5799C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3C2C275-4B2A-4FDA-99C5-14BF9BE845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C92EF198-172E-4089-A1C6-5C8602694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3" y="411163"/>
            <a:ext cx="10910887" cy="684212"/>
          </a:xfrm>
        </p:spPr>
        <p:txBody>
          <a:bodyPr/>
          <a:lstStyle/>
          <a:p>
            <a:r>
              <a:rPr lang="ru-RU" dirty="0"/>
              <a:t>Подключите ЭДО, пройдите верификацию</a:t>
            </a:r>
          </a:p>
        </p:txBody>
      </p:sp>
      <p:pic>
        <p:nvPicPr>
          <p:cNvPr id="7" name="Объект 6">
            <a:extLst>
              <a:ext uri="{FF2B5EF4-FFF2-40B4-BE49-F238E27FC236}">
                <a16:creationId xmlns:a16="http://schemas.microsoft.com/office/drawing/2014/main" id="{BE75AFF7-FEA4-463F-BB3C-BFF4EB010B8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9763" y="1520825"/>
            <a:ext cx="8182800" cy="425163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0DA0AE2-BFD0-473A-AC83-6ED1F14C30C4}"/>
              </a:ext>
            </a:extLst>
          </p:cNvPr>
          <p:cNvSpPr txBox="1"/>
          <p:nvPr/>
        </p:nvSpPr>
        <p:spPr>
          <a:xfrm>
            <a:off x="9274998" y="1533990"/>
            <a:ext cx="2290795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ШАГ 4</a:t>
            </a:r>
            <a:b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дключите ЭДО</a:t>
            </a:r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1665F0B5-A361-4520-BB44-715D5BB16114}"/>
              </a:ext>
            </a:extLst>
          </p:cNvPr>
          <p:cNvSpPr/>
          <p:nvPr/>
        </p:nvSpPr>
        <p:spPr>
          <a:xfrm>
            <a:off x="9274998" y="2696098"/>
            <a:ext cx="2584493" cy="190375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A2ACD3-9CB6-4355-8CFD-B9E0DEE72AB5}"/>
              </a:ext>
            </a:extLst>
          </p:cNvPr>
          <p:cNvSpPr txBox="1"/>
          <p:nvPr/>
        </p:nvSpPr>
        <p:spPr>
          <a:xfrm>
            <a:off x="9512348" y="2889555"/>
            <a:ext cx="2290794" cy="16419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ля чего?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Получать по заказам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ригиналы документов,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 не сканы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 Верифицироваться для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овершения закупок по р/с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75A86E5A-B7CA-46BD-9F2F-A7FFA05E6E52}"/>
              </a:ext>
            </a:extLst>
          </p:cNvPr>
          <p:cNvSpPr/>
          <p:nvPr/>
        </p:nvSpPr>
        <p:spPr>
          <a:xfrm>
            <a:off x="10887501" y="2781555"/>
            <a:ext cx="789893" cy="2160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АЖНО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C316058-D40F-48F9-8D27-F99126DA4A28}"/>
              </a:ext>
            </a:extLst>
          </p:cNvPr>
          <p:cNvSpPr/>
          <p:nvPr/>
        </p:nvSpPr>
        <p:spPr>
          <a:xfrm>
            <a:off x="2383368" y="3677592"/>
            <a:ext cx="848591" cy="275577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2428B2C-E768-43AF-8F39-EACBC532F49C}"/>
              </a:ext>
            </a:extLst>
          </p:cNvPr>
          <p:cNvSpPr/>
          <p:nvPr/>
        </p:nvSpPr>
        <p:spPr>
          <a:xfrm>
            <a:off x="3674532" y="2898021"/>
            <a:ext cx="2036233" cy="352949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532ACAC0-7787-4CE4-A5EF-79AA2BFCA3F6}"/>
              </a:ext>
            </a:extLst>
          </p:cNvPr>
          <p:cNvSpPr/>
          <p:nvPr/>
        </p:nvSpPr>
        <p:spPr>
          <a:xfrm>
            <a:off x="3674532" y="4345003"/>
            <a:ext cx="762001" cy="291629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A4AA12F1-A971-4069-9EF2-124D3CCFA7CF}"/>
              </a:ext>
            </a:extLst>
          </p:cNvPr>
          <p:cNvSpPr/>
          <p:nvPr/>
        </p:nvSpPr>
        <p:spPr>
          <a:xfrm>
            <a:off x="2208068" y="3565998"/>
            <a:ext cx="249382" cy="249382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C3A3A6C4-AB06-42E2-8F4D-F8732DE525B4}"/>
              </a:ext>
            </a:extLst>
          </p:cNvPr>
          <p:cNvSpPr/>
          <p:nvPr/>
        </p:nvSpPr>
        <p:spPr>
          <a:xfrm>
            <a:off x="3490014" y="2773330"/>
            <a:ext cx="249382" cy="249382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F93AF430-B04A-4663-8382-ED5F3BCD751B}"/>
              </a:ext>
            </a:extLst>
          </p:cNvPr>
          <p:cNvSpPr/>
          <p:nvPr/>
        </p:nvSpPr>
        <p:spPr>
          <a:xfrm>
            <a:off x="3490014" y="4207324"/>
            <a:ext cx="249382" cy="249382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19" name="Прямоугольник 18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8B418748-9DC7-4E6A-9CAB-58CF6AD6663F}"/>
              </a:ext>
            </a:extLst>
          </p:cNvPr>
          <p:cNvSpPr/>
          <p:nvPr/>
        </p:nvSpPr>
        <p:spPr>
          <a:xfrm>
            <a:off x="11097582" y="958995"/>
            <a:ext cx="1075316" cy="50054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рямоугольник 19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917A3626-78AD-470B-8EB2-D8F26F24251D}"/>
              </a:ext>
            </a:extLst>
          </p:cNvPr>
          <p:cNvSpPr/>
          <p:nvPr/>
        </p:nvSpPr>
        <p:spPr>
          <a:xfrm>
            <a:off x="0" y="910695"/>
            <a:ext cx="1079439" cy="51443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Прямоугольник 20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54D240AA-797A-40E8-AFDC-EE272B6658C2}"/>
              </a:ext>
            </a:extLst>
          </p:cNvPr>
          <p:cNvSpPr/>
          <p:nvPr/>
        </p:nvSpPr>
        <p:spPr>
          <a:xfrm>
            <a:off x="364067" y="6310284"/>
            <a:ext cx="1185332" cy="458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29679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C7DBA70-8563-4F5B-BBF9-C570A18180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11</a:t>
            </a:fld>
            <a:endParaRPr lang="ru-RU"/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7FA1A47D-865B-4300-A602-10BCE18DB302}"/>
              </a:ext>
            </a:extLst>
          </p:cNvPr>
          <p:cNvSpPr/>
          <p:nvPr/>
        </p:nvSpPr>
        <p:spPr>
          <a:xfrm>
            <a:off x="812800" y="592667"/>
            <a:ext cx="10752994" cy="3572933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4800" b="1" dirty="0">
                <a:solidFill>
                  <a:schemeClr val="bg2"/>
                </a:solidFill>
              </a:rPr>
              <a:t>Теперь вы можете оформить заказ как юридическое лицо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C74B415-297D-4989-B61E-92DDE1DF1A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8700" y="2379133"/>
            <a:ext cx="5054600" cy="505460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130E63A3-C96B-4466-81A1-B7834BF611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2667" y="4704644"/>
            <a:ext cx="1817957" cy="1817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1497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AA2EB5F0-7DBF-45FA-998D-C27DD91CE5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081" y="5194112"/>
            <a:ext cx="3867020" cy="590868"/>
          </a:xfrm>
        </p:spPr>
        <p:txBody>
          <a:bodyPr>
            <a:normAutofit fontScale="85000" lnSpcReduction="20000"/>
          </a:bodyPr>
          <a:lstStyle/>
          <a:p>
            <a:br>
              <a:rPr lang="ru-RU" dirty="0"/>
            </a:br>
            <a:r>
              <a:rPr lang="ru-RU" dirty="0"/>
              <a:t>Константин Рябков </a:t>
            </a:r>
            <a:r>
              <a:rPr lang="en-US" dirty="0"/>
              <a:t>Kryabkov@ozon.ru</a:t>
            </a:r>
            <a:br>
              <a:rPr lang="ru-RU" dirty="0"/>
            </a:br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8E9809F-EC2D-4F45-81F1-1CE7C03B8D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081" y="3906686"/>
            <a:ext cx="5607045" cy="706276"/>
          </a:xfrm>
        </p:spPr>
        <p:txBody>
          <a:bodyPr>
            <a:normAutofit/>
          </a:bodyPr>
          <a:lstStyle/>
          <a:p>
            <a:r>
              <a:rPr lang="ru-RU" sz="1800" dirty="0"/>
              <a:t>Ознакомиться с предложением </a:t>
            </a:r>
            <a:r>
              <a:rPr lang="en-US" sz="1800" dirty="0"/>
              <a:t>Ozon retail </a:t>
            </a:r>
            <a:r>
              <a:rPr lang="ru-RU" sz="1800" dirty="0"/>
              <a:t>можно здесь</a:t>
            </a:r>
          </a:p>
        </p:txBody>
      </p:sp>
      <p:pic>
        <p:nvPicPr>
          <p:cNvPr id="6" name="Рисунок 22" descr="Рисунок 22">
            <a:extLst>
              <a:ext uri="{FF2B5EF4-FFF2-40B4-BE49-F238E27FC236}">
                <a16:creationId xmlns:a16="http://schemas.microsoft.com/office/drawing/2014/main" id="{A5E98033-6E78-46B8-9806-0F6F74CB232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15368"/>
          <a:stretch>
            <a:fillRect/>
          </a:stretch>
        </p:blipFill>
        <p:spPr>
          <a:xfrm>
            <a:off x="8894042" y="4597758"/>
            <a:ext cx="3082215" cy="2260242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D3D1BDD-5352-42A6-8B21-5277D89E07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4518" y="3429000"/>
            <a:ext cx="1687212" cy="1661648"/>
          </a:xfrm>
          <a:prstGeom prst="rect">
            <a:avLst/>
          </a:prstGeom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47C3FA00-00E1-4097-B3BE-260D9672BF21}"/>
              </a:ext>
            </a:extLst>
          </p:cNvPr>
          <p:cNvSpPr txBox="1">
            <a:spLocks/>
          </p:cNvSpPr>
          <p:nvPr/>
        </p:nvSpPr>
        <p:spPr>
          <a:xfrm>
            <a:off x="1238081" y="1509008"/>
            <a:ext cx="5128380" cy="7825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b">
            <a:normAutofit/>
          </a:bodyPr>
          <a:lstStyle>
            <a:lvl1pPr marL="0" marR="0" indent="0" algn="l" defTabSz="914400" rtl="0" latinLnBrk="0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0" i="0" u="none" strike="noStrike" cap="none" spc="0" baseline="0">
                <a:solidFill>
                  <a:srgbClr val="FFFFFF"/>
                </a:solidFill>
                <a:uFillTx/>
                <a:latin typeface="Arial Black"/>
                <a:ea typeface="Arial Black"/>
                <a:cs typeface="Arial Black"/>
                <a:sym typeface="Arial Black"/>
              </a:defRPr>
            </a:lvl1pPr>
            <a:lvl2pPr marL="0" marR="0" indent="0" algn="l" defTabSz="914400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-30" baseline="0">
                <a:solidFill>
                  <a:srgbClr val="0E1114"/>
                </a:solidFill>
                <a:uFillTx/>
                <a:latin typeface="Arial Black"/>
                <a:ea typeface="Arial Black"/>
                <a:cs typeface="Arial Black"/>
                <a:sym typeface="Arial Black"/>
              </a:defRPr>
            </a:lvl2pPr>
            <a:lvl3pPr marL="0" marR="0" indent="0" algn="l" defTabSz="914400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-30" baseline="0">
                <a:solidFill>
                  <a:srgbClr val="0E1114"/>
                </a:solidFill>
                <a:uFillTx/>
                <a:latin typeface="Arial Black"/>
                <a:ea typeface="Arial Black"/>
                <a:cs typeface="Arial Black"/>
                <a:sym typeface="Arial Black"/>
              </a:defRPr>
            </a:lvl3pPr>
            <a:lvl4pPr marL="0" marR="0" indent="0" algn="l" defTabSz="914400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-30" baseline="0">
                <a:solidFill>
                  <a:srgbClr val="0E1114"/>
                </a:solidFill>
                <a:uFillTx/>
                <a:latin typeface="Arial Black"/>
                <a:ea typeface="Arial Black"/>
                <a:cs typeface="Arial Black"/>
                <a:sym typeface="Arial Black"/>
              </a:defRPr>
            </a:lvl4pPr>
            <a:lvl5pPr marL="0" marR="0" indent="0" algn="l" defTabSz="914400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-30" baseline="0">
                <a:solidFill>
                  <a:srgbClr val="0E1114"/>
                </a:solidFill>
                <a:uFillTx/>
                <a:latin typeface="Arial Black"/>
                <a:ea typeface="Arial Black"/>
                <a:cs typeface="Arial Black"/>
                <a:sym typeface="Arial Black"/>
              </a:defRPr>
            </a:lvl5pPr>
            <a:lvl6pPr marL="0" marR="0" indent="0" algn="l" defTabSz="914400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-30" baseline="0">
                <a:solidFill>
                  <a:srgbClr val="0E1114"/>
                </a:solidFill>
                <a:uFillTx/>
                <a:latin typeface="Arial Black"/>
                <a:ea typeface="Arial Black"/>
                <a:cs typeface="Arial Black"/>
                <a:sym typeface="Arial Black"/>
              </a:defRPr>
            </a:lvl6pPr>
            <a:lvl7pPr marL="0" marR="0" indent="0" algn="l" defTabSz="914400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-30" baseline="0">
                <a:solidFill>
                  <a:srgbClr val="0E1114"/>
                </a:solidFill>
                <a:uFillTx/>
                <a:latin typeface="Arial Black"/>
                <a:ea typeface="Arial Black"/>
                <a:cs typeface="Arial Black"/>
                <a:sym typeface="Arial Black"/>
              </a:defRPr>
            </a:lvl7pPr>
            <a:lvl8pPr marL="0" marR="0" indent="0" algn="l" defTabSz="914400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-30" baseline="0">
                <a:solidFill>
                  <a:srgbClr val="0E1114"/>
                </a:solidFill>
                <a:uFillTx/>
                <a:latin typeface="Arial Black"/>
                <a:ea typeface="Arial Black"/>
                <a:cs typeface="Arial Black"/>
                <a:sym typeface="Arial Black"/>
              </a:defRPr>
            </a:lvl8pPr>
            <a:lvl9pPr marL="0" marR="0" indent="0" algn="l" defTabSz="914400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-30" baseline="0">
                <a:solidFill>
                  <a:srgbClr val="0E1114"/>
                </a:solidFill>
                <a:uFillTx/>
                <a:latin typeface="Arial Black"/>
                <a:ea typeface="Arial Black"/>
                <a:cs typeface="Arial Black"/>
                <a:sym typeface="Arial Black"/>
              </a:defRPr>
            </a:lvl9pPr>
          </a:lstStyle>
          <a:p>
            <a:pPr hangingPunct="1"/>
            <a:r>
              <a:rPr lang="ru-RU" sz="1800" dirty="0"/>
              <a:t>Откройте доступ к 370 млн товаров 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76DCA92E-AF61-4D73-AD42-43B5F22342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64518" y="1268129"/>
            <a:ext cx="1688363" cy="1661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1399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>
            <a:extLst>
              <a:ext uri="{FF2B5EF4-FFF2-40B4-BE49-F238E27FC236}">
                <a16:creationId xmlns:a16="http://schemas.microsoft.com/office/drawing/2014/main" id="{8EAC10B3-EC43-472C-9ED2-83C0E47598A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39184689"/>
              </p:ext>
            </p:extLst>
          </p:nvPr>
        </p:nvGraphicFramePr>
        <p:xfrm>
          <a:off x="639763" y="1520825"/>
          <a:ext cx="10910887" cy="47121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748A803D-93C4-41AD-B32E-E2E31B4A7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рост продаж 2024 – 1кв 2026</a:t>
            </a:r>
          </a:p>
        </p:txBody>
      </p:sp>
    </p:spTree>
    <p:extLst>
      <p:ext uri="{BB962C8B-B14F-4D97-AF65-F5344CB8AC3E}">
        <p14:creationId xmlns:p14="http://schemas.microsoft.com/office/powerpoint/2010/main" val="15805981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748A803D-93C4-41AD-B32E-E2E31B4A7E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120" y="393687"/>
            <a:ext cx="3816122" cy="932368"/>
          </a:xfrm>
        </p:spPr>
        <p:txBody>
          <a:bodyPr/>
          <a:lstStyle/>
          <a:p>
            <a:r>
              <a:rPr lang="ru-RU" dirty="0"/>
              <a:t>Доля категорий 2023 – 2025 </a:t>
            </a: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69769D66-8317-42B7-A5FB-8C39C06C6C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9425584"/>
              </p:ext>
            </p:extLst>
          </p:nvPr>
        </p:nvGraphicFramePr>
        <p:xfrm>
          <a:off x="562270" y="1465952"/>
          <a:ext cx="5573487" cy="4233727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2777860">
                  <a:extLst>
                    <a:ext uri="{9D8B030D-6E8A-4147-A177-3AD203B41FA5}">
                      <a16:colId xmlns:a16="http://schemas.microsoft.com/office/drawing/2014/main" val="1100331940"/>
                    </a:ext>
                  </a:extLst>
                </a:gridCol>
                <a:gridCol w="999354">
                  <a:extLst>
                    <a:ext uri="{9D8B030D-6E8A-4147-A177-3AD203B41FA5}">
                      <a16:colId xmlns:a16="http://schemas.microsoft.com/office/drawing/2014/main" val="383194618"/>
                    </a:ext>
                  </a:extLst>
                </a:gridCol>
                <a:gridCol w="895929">
                  <a:extLst>
                    <a:ext uri="{9D8B030D-6E8A-4147-A177-3AD203B41FA5}">
                      <a16:colId xmlns:a16="http://schemas.microsoft.com/office/drawing/2014/main" val="1798331015"/>
                    </a:ext>
                  </a:extLst>
                </a:gridCol>
                <a:gridCol w="900344">
                  <a:extLst>
                    <a:ext uri="{9D8B030D-6E8A-4147-A177-3AD203B41FA5}">
                      <a16:colId xmlns:a16="http://schemas.microsoft.com/office/drawing/2014/main" val="1327770748"/>
                    </a:ext>
                  </a:extLst>
                </a:gridCol>
              </a:tblGrid>
              <a:tr h="260466">
                <a:tc>
                  <a:txBody>
                    <a:bodyPr/>
                    <a:lstStyle/>
                    <a:p>
                      <a:pPr algn="l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23" marR="2523" marT="25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 dirty="0">
                          <a:effectLst/>
                          <a:latin typeface="+mj-lt"/>
                        </a:rPr>
                        <a:t> </a:t>
                      </a:r>
                      <a:r>
                        <a:rPr lang="en-US" sz="1600" u="none" strike="noStrike" dirty="0">
                          <a:effectLst/>
                          <a:latin typeface="+mj-lt"/>
                        </a:rPr>
                        <a:t> </a:t>
                      </a:r>
                      <a:r>
                        <a:rPr lang="ru-RU" sz="1200" u="none" strike="noStrike" dirty="0">
                          <a:effectLst/>
                          <a:latin typeface="+mj-lt"/>
                        </a:rPr>
                        <a:t> </a:t>
                      </a:r>
                      <a:r>
                        <a:rPr lang="ru-RU" sz="1600" b="1" u="none" strike="noStrike" dirty="0">
                          <a:effectLst/>
                          <a:latin typeface="+mj-lt"/>
                        </a:rPr>
                        <a:t>2023</a:t>
                      </a:r>
                      <a:r>
                        <a:rPr lang="ru-RU" sz="1600" u="none" strike="noStrike" dirty="0">
                          <a:effectLst/>
                          <a:latin typeface="+mj-lt"/>
                        </a:rPr>
                        <a:t> 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2523" marR="2523" marT="25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2024</a:t>
                      </a:r>
                    </a:p>
                  </a:txBody>
                  <a:tcPr marL="2523" marR="2523" marT="25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 dirty="0">
                          <a:effectLst/>
                          <a:latin typeface="+mj-lt"/>
                        </a:rPr>
                        <a:t> </a:t>
                      </a:r>
                      <a:r>
                        <a:rPr lang="en-US" sz="1600" u="none" strike="noStrike" dirty="0">
                          <a:effectLst/>
                          <a:latin typeface="+mj-lt"/>
                        </a:rPr>
                        <a:t> </a:t>
                      </a:r>
                      <a:r>
                        <a:rPr lang="ru-RU" sz="1600" u="none" strike="noStrike" dirty="0">
                          <a:effectLst/>
                          <a:latin typeface="+mj-lt"/>
                        </a:rPr>
                        <a:t>2025 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2523" marR="2523" marT="2523" marB="0" anchor="b"/>
                </a:tc>
                <a:extLst>
                  <a:ext uri="{0D108BD9-81ED-4DB2-BD59-A6C34878D82A}">
                    <a16:rowId xmlns:a16="http://schemas.microsoft.com/office/drawing/2014/main" val="1676497993"/>
                  </a:ext>
                </a:extLst>
              </a:tr>
              <a:tr h="223729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исование для детей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,3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,0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,5%</a:t>
                      </a:r>
                    </a:p>
                  </a:txBody>
                  <a:tcPr marL="4763" marR="4763" marT="4763" marB="0" anchor="b"/>
                </a:tc>
                <a:extLst>
                  <a:ext uri="{0D108BD9-81ED-4DB2-BD59-A6C34878D82A}">
                    <a16:rowId xmlns:a16="http://schemas.microsoft.com/office/drawing/2014/main" val="1245315655"/>
                  </a:ext>
                </a:extLst>
              </a:tr>
              <a:tr h="223729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фисные принадлежности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,5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,8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,1%</a:t>
                      </a:r>
                    </a:p>
                  </a:txBody>
                  <a:tcPr marL="4763" marR="4763" marT="4763" marB="0" anchor="b"/>
                </a:tc>
                <a:extLst>
                  <a:ext uri="{0D108BD9-81ED-4DB2-BD59-A6C34878D82A}">
                    <a16:rowId xmlns:a16="http://schemas.microsoft.com/office/drawing/2014/main" val="2130823688"/>
                  </a:ext>
                </a:extLst>
              </a:tr>
              <a:tr h="223200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мажная продукция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,0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,8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,9%</a:t>
                      </a:r>
                    </a:p>
                  </a:txBody>
                  <a:tcPr marL="4763" marR="4763" marT="4763" marB="0" anchor="b"/>
                </a:tc>
                <a:extLst>
                  <a:ext uri="{0D108BD9-81ED-4DB2-BD59-A6C34878D82A}">
                    <a16:rowId xmlns:a16="http://schemas.microsoft.com/office/drawing/2014/main" val="2908237851"/>
                  </a:ext>
                </a:extLst>
              </a:tr>
              <a:tr h="223200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исьменные принадлежности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,4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,8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,7%</a:t>
                      </a:r>
                    </a:p>
                  </a:txBody>
                  <a:tcPr marL="4763" marR="4763" marT="4763" marB="0" anchor="b"/>
                </a:tc>
                <a:extLst>
                  <a:ext uri="{0D108BD9-81ED-4DB2-BD59-A6C34878D82A}">
                    <a16:rowId xmlns:a16="http://schemas.microsoft.com/office/drawing/2014/main" val="970535661"/>
                  </a:ext>
                </a:extLst>
              </a:tr>
              <a:tr h="223200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нец, рюкзак, сумка школьные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,9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,6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,8%</a:t>
                      </a:r>
                    </a:p>
                  </a:txBody>
                  <a:tcPr marL="4763" marR="4763" marT="4763" marB="0" anchor="b"/>
                </a:tc>
                <a:extLst>
                  <a:ext uri="{0D108BD9-81ED-4DB2-BD59-A6C34878D82A}">
                    <a16:rowId xmlns:a16="http://schemas.microsoft.com/office/drawing/2014/main" val="2821772801"/>
                  </a:ext>
                </a:extLst>
              </a:tr>
              <a:tr h="223200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апка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9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1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4%</a:t>
                      </a:r>
                    </a:p>
                  </a:txBody>
                  <a:tcPr marL="4763" marR="4763" marT="4763" marB="0" anchor="b"/>
                </a:tc>
                <a:extLst>
                  <a:ext uri="{0D108BD9-81ED-4DB2-BD59-A6C34878D82A}">
                    <a16:rowId xmlns:a16="http://schemas.microsoft.com/office/drawing/2014/main" val="171152302"/>
                  </a:ext>
                </a:extLst>
              </a:tr>
              <a:tr h="223200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традь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2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1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8%</a:t>
                      </a:r>
                    </a:p>
                  </a:txBody>
                  <a:tcPr marL="4763" marR="4763" marT="4763" marB="0" anchor="b"/>
                </a:tc>
                <a:extLst>
                  <a:ext uri="{0D108BD9-81ED-4DB2-BD59-A6C34878D82A}">
                    <a16:rowId xmlns:a16="http://schemas.microsoft.com/office/drawing/2014/main" val="3943568885"/>
                  </a:ext>
                </a:extLst>
              </a:tr>
              <a:tr h="2232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мага офисная белая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3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0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5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5658962"/>
                  </a:ext>
                </a:extLst>
              </a:tr>
              <a:tr h="223200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орудование для магазина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2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1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9%</a:t>
                      </a:r>
                    </a:p>
                  </a:txBody>
                  <a:tcPr marL="4763" marR="4763" marT="4763" marB="0" anchor="b"/>
                </a:tc>
                <a:extLst>
                  <a:ext uri="{0D108BD9-81ED-4DB2-BD59-A6C34878D82A}">
                    <a16:rowId xmlns:a16="http://schemas.microsoft.com/office/drawing/2014/main" val="1282319511"/>
                  </a:ext>
                </a:extLst>
              </a:tr>
              <a:tr h="223200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емонстрационное оборудование и аксессуары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3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1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0%</a:t>
                      </a:r>
                    </a:p>
                  </a:txBody>
                  <a:tcPr marL="4763" marR="4763" marT="4763" marB="0" anchor="b"/>
                </a:tc>
                <a:extLst>
                  <a:ext uri="{0D108BD9-81ED-4DB2-BD59-A6C34878D82A}">
                    <a16:rowId xmlns:a16="http://schemas.microsoft.com/office/drawing/2014/main" val="2335053963"/>
                  </a:ext>
                </a:extLst>
              </a:tr>
              <a:tr h="223200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кольные принадлежности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1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0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0%</a:t>
                      </a:r>
                    </a:p>
                  </a:txBody>
                  <a:tcPr marL="4763" marR="4763" marT="4763" marB="0" anchor="b"/>
                </a:tc>
                <a:extLst>
                  <a:ext uri="{0D108BD9-81ED-4DB2-BD59-A6C34878D82A}">
                    <a16:rowId xmlns:a16="http://schemas.microsoft.com/office/drawing/2014/main" val="4222463989"/>
                  </a:ext>
                </a:extLst>
              </a:tr>
              <a:tr h="223200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Ежедневник, планинг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5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3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2%</a:t>
                      </a:r>
                    </a:p>
                  </a:txBody>
                  <a:tcPr marL="4763" marR="4763" marT="4763" marB="0" anchor="b"/>
                </a:tc>
                <a:extLst>
                  <a:ext uri="{0D108BD9-81ED-4DB2-BD59-A6C34878D82A}">
                    <a16:rowId xmlns:a16="http://schemas.microsoft.com/office/drawing/2014/main" val="3032664172"/>
                  </a:ext>
                </a:extLst>
              </a:tr>
              <a:tr h="223200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Чертежные принадлежности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5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3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4%</a:t>
                      </a:r>
                    </a:p>
                  </a:txBody>
                  <a:tcPr marL="4763" marR="4763" marT="4763" marB="0" anchor="b"/>
                </a:tc>
                <a:extLst>
                  <a:ext uri="{0D108BD9-81ED-4DB2-BD59-A6C34878D82A}">
                    <a16:rowId xmlns:a16="http://schemas.microsoft.com/office/drawing/2014/main" val="2002381448"/>
                  </a:ext>
                </a:extLst>
              </a:tr>
              <a:tr h="223200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чати и штампы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9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1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1%</a:t>
                      </a:r>
                    </a:p>
                  </a:txBody>
                  <a:tcPr marL="4763" marR="4763" marT="4763" marB="0" anchor="b"/>
                </a:tc>
                <a:extLst>
                  <a:ext uri="{0D108BD9-81ED-4DB2-BD59-A6C34878D82A}">
                    <a16:rowId xmlns:a16="http://schemas.microsoft.com/office/drawing/2014/main" val="3384994557"/>
                  </a:ext>
                </a:extLst>
              </a:tr>
              <a:tr h="223200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лобус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6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4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4%</a:t>
                      </a:r>
                    </a:p>
                  </a:txBody>
                  <a:tcPr marL="4763" marR="4763" marT="4763" marB="0" anchor="b"/>
                </a:tc>
                <a:extLst>
                  <a:ext uri="{0D108BD9-81ED-4DB2-BD59-A6C34878D82A}">
                    <a16:rowId xmlns:a16="http://schemas.microsoft.com/office/drawing/2014/main" val="624162095"/>
                  </a:ext>
                </a:extLst>
              </a:tr>
              <a:tr h="223200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стенные карты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4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4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3%</a:t>
                      </a:r>
                    </a:p>
                  </a:txBody>
                  <a:tcPr marL="4763" marR="4763" marT="4763" marB="0" anchor="b"/>
                </a:tc>
                <a:extLst>
                  <a:ext uri="{0D108BD9-81ED-4DB2-BD59-A6C34878D82A}">
                    <a16:rowId xmlns:a16="http://schemas.microsoft.com/office/drawing/2014/main" val="2552838161"/>
                  </a:ext>
                </a:extLst>
              </a:tr>
              <a:tr h="223200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лектронная карта школьника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1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1%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1%</a:t>
                      </a:r>
                    </a:p>
                  </a:txBody>
                  <a:tcPr marL="4763" marR="4763" marT="4763" marB="0" anchor="b"/>
                </a:tc>
                <a:extLst>
                  <a:ext uri="{0D108BD9-81ED-4DB2-BD59-A6C34878D82A}">
                    <a16:rowId xmlns:a16="http://schemas.microsoft.com/office/drawing/2014/main" val="1405012840"/>
                  </a:ext>
                </a:extLst>
              </a:tr>
            </a:tbl>
          </a:graphicData>
        </a:graphic>
      </p:graphicFrame>
      <p:graphicFrame>
        <p:nvGraphicFramePr>
          <p:cNvPr id="7" name="Объект 6">
            <a:extLst>
              <a:ext uri="{FF2B5EF4-FFF2-40B4-BE49-F238E27FC236}">
                <a16:creationId xmlns:a16="http://schemas.microsoft.com/office/drawing/2014/main" id="{B8E38E4A-75A2-4D0D-9267-08117257259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81467165"/>
              </p:ext>
            </p:extLst>
          </p:nvPr>
        </p:nvGraphicFramePr>
        <p:xfrm>
          <a:off x="6248035" y="453321"/>
          <a:ext cx="5813570" cy="61444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0B8FE9C-EBDE-499F-A762-5AEE933DA80E}"/>
              </a:ext>
            </a:extLst>
          </p:cNvPr>
          <p:cNvSpPr/>
          <p:nvPr/>
        </p:nvSpPr>
        <p:spPr>
          <a:xfrm>
            <a:off x="416862" y="1818300"/>
            <a:ext cx="64800" cy="64800"/>
          </a:xfrm>
          <a:prstGeom prst="rect">
            <a:avLst/>
          </a:prstGeom>
          <a:solidFill>
            <a:srgbClr val="D5E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44C23CF1-4C40-4182-A91D-9CFA4CD58497}"/>
              </a:ext>
            </a:extLst>
          </p:cNvPr>
          <p:cNvSpPr/>
          <p:nvPr/>
        </p:nvSpPr>
        <p:spPr>
          <a:xfrm>
            <a:off x="416862" y="2047217"/>
            <a:ext cx="64800" cy="64800"/>
          </a:xfrm>
          <a:prstGeom prst="rect">
            <a:avLst/>
          </a:prstGeom>
          <a:solidFill>
            <a:srgbClr val="81E7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C66C6200-E757-4A5B-A15D-EDA90B480428}"/>
              </a:ext>
            </a:extLst>
          </p:cNvPr>
          <p:cNvSpPr/>
          <p:nvPr/>
        </p:nvSpPr>
        <p:spPr>
          <a:xfrm>
            <a:off x="416862" y="2279920"/>
            <a:ext cx="64800" cy="64800"/>
          </a:xfrm>
          <a:prstGeom prst="rect">
            <a:avLst/>
          </a:prstGeom>
          <a:solidFill>
            <a:srgbClr val="33B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B79CD7BC-77E2-40DC-AA7E-A2DAA51FB1EA}"/>
              </a:ext>
            </a:extLst>
          </p:cNvPr>
          <p:cNvSpPr/>
          <p:nvPr/>
        </p:nvSpPr>
        <p:spPr>
          <a:xfrm>
            <a:off x="416862" y="2500202"/>
            <a:ext cx="64800" cy="64800"/>
          </a:xfrm>
          <a:prstGeom prst="rect">
            <a:avLst/>
          </a:prstGeom>
          <a:solidFill>
            <a:srgbClr val="FB3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6952A0E0-F9DA-458F-81F6-7307026F9083}"/>
              </a:ext>
            </a:extLst>
          </p:cNvPr>
          <p:cNvSpPr/>
          <p:nvPr/>
        </p:nvSpPr>
        <p:spPr>
          <a:xfrm>
            <a:off x="416862" y="2725094"/>
            <a:ext cx="64800" cy="64800"/>
          </a:xfrm>
          <a:prstGeom prst="rect">
            <a:avLst/>
          </a:prstGeom>
          <a:solidFill>
            <a:srgbClr val="337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A0676221-D4A1-4676-A07F-802B8F674A87}"/>
              </a:ext>
            </a:extLst>
          </p:cNvPr>
          <p:cNvSpPr/>
          <p:nvPr/>
        </p:nvSpPr>
        <p:spPr>
          <a:xfrm>
            <a:off x="416862" y="2944485"/>
            <a:ext cx="64800" cy="64800"/>
          </a:xfrm>
          <a:prstGeom prst="rect">
            <a:avLst/>
          </a:prstGeom>
          <a:solidFill>
            <a:srgbClr val="556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F4A3B2FB-1F08-4F63-A6CA-8EEB5F0C2B2B}"/>
              </a:ext>
            </a:extLst>
          </p:cNvPr>
          <p:cNvSpPr/>
          <p:nvPr/>
        </p:nvSpPr>
        <p:spPr>
          <a:xfrm>
            <a:off x="416862" y="3164615"/>
            <a:ext cx="64800" cy="64800"/>
          </a:xfrm>
          <a:prstGeom prst="rect">
            <a:avLst/>
          </a:prstGeom>
          <a:solidFill>
            <a:srgbClr val="146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9C992510-D7D4-4B27-8A9C-E762423D0CD1}"/>
              </a:ext>
            </a:extLst>
          </p:cNvPr>
          <p:cNvSpPr/>
          <p:nvPr/>
        </p:nvSpPr>
        <p:spPr>
          <a:xfrm>
            <a:off x="416862" y="3381147"/>
            <a:ext cx="64800" cy="64800"/>
          </a:xfrm>
          <a:prstGeom prst="rect">
            <a:avLst/>
          </a:prstGeom>
          <a:solidFill>
            <a:srgbClr val="0DA8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7AD559DA-1A47-4E46-9518-D74FBBFF8EF6}"/>
              </a:ext>
            </a:extLst>
          </p:cNvPr>
          <p:cNvSpPr/>
          <p:nvPr/>
        </p:nvSpPr>
        <p:spPr>
          <a:xfrm>
            <a:off x="416862" y="3614195"/>
            <a:ext cx="64800" cy="64800"/>
          </a:xfrm>
          <a:prstGeom prst="rect">
            <a:avLst/>
          </a:prstGeom>
          <a:solidFill>
            <a:srgbClr val="0061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201528DC-B945-4AFE-B815-EAAA8CAF6E78}"/>
              </a:ext>
            </a:extLst>
          </p:cNvPr>
          <p:cNvSpPr/>
          <p:nvPr/>
        </p:nvSpPr>
        <p:spPr>
          <a:xfrm>
            <a:off x="416862" y="3912651"/>
            <a:ext cx="64800" cy="64800"/>
          </a:xfrm>
          <a:prstGeom prst="rect">
            <a:avLst/>
          </a:prstGeom>
          <a:solidFill>
            <a:srgbClr val="9C03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142FF5B1-C65C-47A9-ACAB-8C63DE122CEB}"/>
              </a:ext>
            </a:extLst>
          </p:cNvPr>
          <p:cNvSpPr/>
          <p:nvPr/>
        </p:nvSpPr>
        <p:spPr>
          <a:xfrm>
            <a:off x="416862" y="4228990"/>
            <a:ext cx="64800" cy="64800"/>
          </a:xfrm>
          <a:prstGeom prst="rect">
            <a:avLst/>
          </a:prstGeom>
          <a:solidFill>
            <a:srgbClr val="003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12BAF446-C2B8-49D2-86CE-5555D11C1C80}"/>
              </a:ext>
            </a:extLst>
          </p:cNvPr>
          <p:cNvSpPr/>
          <p:nvPr/>
        </p:nvSpPr>
        <p:spPr>
          <a:xfrm>
            <a:off x="416862" y="4459598"/>
            <a:ext cx="64800" cy="64800"/>
          </a:xfrm>
          <a:prstGeom prst="rect">
            <a:avLst/>
          </a:prstGeom>
          <a:solidFill>
            <a:srgbClr val="96A3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DC850448-167E-4AF2-BF7F-C29469F9A54E}"/>
              </a:ext>
            </a:extLst>
          </p:cNvPr>
          <p:cNvSpPr/>
          <p:nvPr/>
        </p:nvSpPr>
        <p:spPr>
          <a:xfrm>
            <a:off x="416862" y="4687562"/>
            <a:ext cx="64800" cy="64800"/>
          </a:xfrm>
          <a:prstGeom prst="rect">
            <a:avLst/>
          </a:prstGeom>
          <a:solidFill>
            <a:srgbClr val="CBD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A2DF56DD-9D5F-4603-8815-F5ADBAE0EF5F}"/>
              </a:ext>
            </a:extLst>
          </p:cNvPr>
          <p:cNvSpPr/>
          <p:nvPr/>
        </p:nvSpPr>
        <p:spPr>
          <a:xfrm>
            <a:off x="416862" y="4906739"/>
            <a:ext cx="64800" cy="64800"/>
          </a:xfrm>
          <a:prstGeom prst="rect">
            <a:avLst/>
          </a:prstGeom>
          <a:solidFill>
            <a:srgbClr val="61E1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9BB94A3E-11C7-456B-A3E9-4C67DD6D0106}"/>
              </a:ext>
            </a:extLst>
          </p:cNvPr>
          <p:cNvSpPr/>
          <p:nvPr/>
        </p:nvSpPr>
        <p:spPr>
          <a:xfrm>
            <a:off x="416862" y="5128987"/>
            <a:ext cx="64800" cy="64800"/>
          </a:xfrm>
          <a:prstGeom prst="rect">
            <a:avLst/>
          </a:prstGeom>
          <a:solidFill>
            <a:srgbClr val="00A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A5420C75-317B-42AB-A942-92DD63CE9360}"/>
              </a:ext>
            </a:extLst>
          </p:cNvPr>
          <p:cNvSpPr/>
          <p:nvPr/>
        </p:nvSpPr>
        <p:spPr>
          <a:xfrm>
            <a:off x="416862" y="5354415"/>
            <a:ext cx="64800" cy="64800"/>
          </a:xfrm>
          <a:prstGeom prst="rect">
            <a:avLst/>
          </a:prstGeom>
          <a:solidFill>
            <a:srgbClr val="FA0F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9AC38002-5EBF-4131-A969-27BABF67F4B0}"/>
              </a:ext>
            </a:extLst>
          </p:cNvPr>
          <p:cNvSpPr/>
          <p:nvPr/>
        </p:nvSpPr>
        <p:spPr>
          <a:xfrm>
            <a:off x="416862" y="5569043"/>
            <a:ext cx="64800" cy="64800"/>
          </a:xfrm>
          <a:prstGeom prst="rect">
            <a:avLst/>
          </a:prstGeom>
          <a:solidFill>
            <a:srgbClr val="005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</p:spTree>
    <p:extLst>
      <p:ext uri="{BB962C8B-B14F-4D97-AF65-F5344CB8AC3E}">
        <p14:creationId xmlns:p14="http://schemas.microsoft.com/office/powerpoint/2010/main" val="33844217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748A803D-93C4-41AD-B32E-E2E31B4A7E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70" y="358154"/>
            <a:ext cx="11233059" cy="684465"/>
          </a:xfrm>
        </p:spPr>
        <p:txBody>
          <a:bodyPr/>
          <a:lstStyle/>
          <a:p>
            <a:r>
              <a:rPr lang="ru-RU" dirty="0"/>
              <a:t>Сравнение долей компаний на основе продаж </a:t>
            </a:r>
            <a:r>
              <a:rPr lang="ru-RU" dirty="0" err="1"/>
              <a:t>Канцобоз</a:t>
            </a:r>
            <a:r>
              <a:rPr lang="ru-RU" dirty="0"/>
              <a:t> и на площадке </a:t>
            </a:r>
            <a:r>
              <a:rPr lang="en-US" dirty="0"/>
              <a:t>Ozon</a:t>
            </a:r>
            <a:r>
              <a:rPr lang="ru-RU" dirty="0"/>
              <a:t> за 2023-2025 гг.</a:t>
            </a:r>
          </a:p>
        </p:txBody>
      </p:sp>
      <p:graphicFrame>
        <p:nvGraphicFramePr>
          <p:cNvPr id="10" name="Таблица 10">
            <a:extLst>
              <a:ext uri="{FF2B5EF4-FFF2-40B4-BE49-F238E27FC236}">
                <a16:creationId xmlns:a16="http://schemas.microsoft.com/office/drawing/2014/main" id="{A22AD9AA-DFDF-47A8-8F51-DE887BC2143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34473396"/>
              </p:ext>
            </p:extLst>
          </p:nvPr>
        </p:nvGraphicFramePr>
        <p:xfrm>
          <a:off x="479470" y="1230244"/>
          <a:ext cx="11168243" cy="50988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909467">
                  <a:extLst>
                    <a:ext uri="{9D8B030D-6E8A-4147-A177-3AD203B41FA5}">
                      <a16:colId xmlns:a16="http://schemas.microsoft.com/office/drawing/2014/main" val="3664897379"/>
                    </a:ext>
                  </a:extLst>
                </a:gridCol>
                <a:gridCol w="1117004">
                  <a:extLst>
                    <a:ext uri="{9D8B030D-6E8A-4147-A177-3AD203B41FA5}">
                      <a16:colId xmlns:a16="http://schemas.microsoft.com/office/drawing/2014/main" val="3202056727"/>
                    </a:ext>
                  </a:extLst>
                </a:gridCol>
                <a:gridCol w="1117004">
                  <a:extLst>
                    <a:ext uri="{9D8B030D-6E8A-4147-A177-3AD203B41FA5}">
                      <a16:colId xmlns:a16="http://schemas.microsoft.com/office/drawing/2014/main" val="2381656894"/>
                    </a:ext>
                  </a:extLst>
                </a:gridCol>
                <a:gridCol w="1117004">
                  <a:extLst>
                    <a:ext uri="{9D8B030D-6E8A-4147-A177-3AD203B41FA5}">
                      <a16:colId xmlns:a16="http://schemas.microsoft.com/office/drawing/2014/main" val="858156679"/>
                    </a:ext>
                  </a:extLst>
                </a:gridCol>
                <a:gridCol w="1117004">
                  <a:extLst>
                    <a:ext uri="{9D8B030D-6E8A-4147-A177-3AD203B41FA5}">
                      <a16:colId xmlns:a16="http://schemas.microsoft.com/office/drawing/2014/main" val="2366564293"/>
                    </a:ext>
                  </a:extLst>
                </a:gridCol>
                <a:gridCol w="439748">
                  <a:extLst>
                    <a:ext uri="{9D8B030D-6E8A-4147-A177-3AD203B41FA5}">
                      <a16:colId xmlns:a16="http://schemas.microsoft.com/office/drawing/2014/main" val="3712618063"/>
                    </a:ext>
                  </a:extLst>
                </a:gridCol>
                <a:gridCol w="1117004">
                  <a:extLst>
                    <a:ext uri="{9D8B030D-6E8A-4147-A177-3AD203B41FA5}">
                      <a16:colId xmlns:a16="http://schemas.microsoft.com/office/drawing/2014/main" val="1840760559"/>
                    </a:ext>
                  </a:extLst>
                </a:gridCol>
                <a:gridCol w="1117004">
                  <a:extLst>
                    <a:ext uri="{9D8B030D-6E8A-4147-A177-3AD203B41FA5}">
                      <a16:colId xmlns:a16="http://schemas.microsoft.com/office/drawing/2014/main" val="1011611406"/>
                    </a:ext>
                  </a:extLst>
                </a:gridCol>
                <a:gridCol w="1117004">
                  <a:extLst>
                    <a:ext uri="{9D8B030D-6E8A-4147-A177-3AD203B41FA5}">
                      <a16:colId xmlns:a16="http://schemas.microsoft.com/office/drawing/2014/main" val="974060157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Доля </a:t>
                      </a:r>
                      <a:r>
                        <a:rPr lang="ru-RU" sz="1600" dirty="0" err="1"/>
                        <a:t>селлера</a:t>
                      </a:r>
                      <a:r>
                        <a:rPr lang="ru-RU" sz="1600" dirty="0"/>
                        <a:t> по продажам в </a:t>
                      </a:r>
                      <a:r>
                        <a:rPr lang="ru-RU" sz="1600" dirty="0" err="1"/>
                        <a:t>Ozon</a:t>
                      </a:r>
                      <a:endParaRPr lang="ru-RU" sz="1600" dirty="0"/>
                    </a:p>
                  </a:txBody>
                  <a:tcPr>
                    <a:lnR w="12700" cap="flat" cmpd="sng" algn="ctr">
                      <a:solidFill>
                        <a:srgbClr val="005BF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rgbClr val="005BF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BF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rgbClr val="005BF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BF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Доля </a:t>
                      </a:r>
                      <a:r>
                        <a:rPr lang="ru-RU" sz="1600" dirty="0" err="1"/>
                        <a:t>селлера</a:t>
                      </a:r>
                      <a:r>
                        <a:rPr lang="ru-RU" sz="1600" dirty="0"/>
                        <a:t> по продажам </a:t>
                      </a:r>
                      <a:r>
                        <a:rPr lang="ru-RU" sz="1600" dirty="0" err="1"/>
                        <a:t>Канцобоз</a:t>
                      </a: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rgbClr val="005BF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9674251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аименование продавца</a:t>
                      </a:r>
                    </a:p>
                  </a:txBody>
                  <a:tcPr>
                    <a:solidFill>
                      <a:srgbClr val="005BF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23</a:t>
                      </a:r>
                      <a:endParaRPr lang="ru-RU" sz="14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5BF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24</a:t>
                      </a:r>
                      <a:endParaRPr lang="ru-RU" sz="14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5BF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25</a:t>
                      </a:r>
                      <a:endParaRPr lang="ru-RU" sz="14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rgbClr val="005BF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5BF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26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lang="ru-RU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2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янв-апр</a:t>
                      </a:r>
                      <a:endParaRPr lang="ru-RU" sz="14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5BF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BF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5BF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endParaRPr lang="ru-RU" sz="14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5BF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BF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5BF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23</a:t>
                      </a:r>
                      <a:endParaRPr lang="ru-RU" sz="14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5BF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05BF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24</a:t>
                      </a:r>
                      <a:endParaRPr lang="ru-RU" sz="14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5BF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25</a:t>
                      </a:r>
                      <a:endParaRPr lang="ru-RU" sz="14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5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017947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мсон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,59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,62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,11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,78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,98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,66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,10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05042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ОО "РЕЛЬЕФ-ЦЕНТР"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77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56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,58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,90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,72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,73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,34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422750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има-Ленд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53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83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09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51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,48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,38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,02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345110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мус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82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42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64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51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,47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,57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,81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706359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VENT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40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70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13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96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64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69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84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015844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85725" indent="0" algn="l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Д Бюрократ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92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49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44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51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23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39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75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447627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ХАТБЕР-М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04%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10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12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67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08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99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99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598438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фициальный магазин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uno Visconti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17%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59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89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80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3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4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3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702787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RIZZLY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41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71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68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25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24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27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28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536803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ОО "ФЕНИКС+"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47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46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64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36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38%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39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42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687745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"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инСиб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"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17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35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58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53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41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76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37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119547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левичъ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34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37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50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49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34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40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48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292790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здательский Дом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ф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Пресс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41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43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35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24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40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37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37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1295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Луч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28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35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38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13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74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68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62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852152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85725" indent="0" algn="l" fontAlgn="b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FORMAT (</a:t>
                      </a:r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О «ФАРМ»)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03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11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22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87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57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11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968837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щая доля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3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,36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3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,08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87%</a:t>
                      </a:r>
                    </a:p>
                  </a:txBody>
                  <a:tcPr marL="4763" marR="4763" marT="476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,33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,19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,85%</a:t>
                      </a:r>
                    </a:p>
                  </a:txBody>
                  <a:tcPr marL="4763" marR="4763" marT="4763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8633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49951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B2D491B-5822-436C-9B0A-6F2F403301E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59" t="6025" r="47416" b="43519"/>
          <a:stretch/>
        </p:blipFill>
        <p:spPr>
          <a:xfrm>
            <a:off x="7539131" y="1085056"/>
            <a:ext cx="3158715" cy="4622800"/>
          </a:xfrm>
          <a:prstGeom prst="roundRect">
            <a:avLst>
              <a:gd name="adj" fmla="val 15220"/>
            </a:avLst>
          </a:prstGeom>
        </p:spPr>
      </p:pic>
      <p:sp>
        <p:nvSpPr>
          <p:cNvPr id="4" name="Прямоугольник: скругленные углы 3" hidden="1">
            <a:extLst>
              <a:ext uri="{FF2B5EF4-FFF2-40B4-BE49-F238E27FC236}">
                <a16:creationId xmlns:a16="http://schemas.microsoft.com/office/drawing/2014/main" id="{3477BB5A-C57C-8838-262E-DF3A633EFA07}"/>
              </a:ext>
            </a:extLst>
          </p:cNvPr>
          <p:cNvSpPr/>
          <p:nvPr/>
        </p:nvSpPr>
        <p:spPr>
          <a:xfrm>
            <a:off x="7558236" y="1085056"/>
            <a:ext cx="3140023" cy="4622800"/>
          </a:xfrm>
          <a:prstGeom prst="roundRect">
            <a:avLst>
              <a:gd name="adj" fmla="val 18693"/>
            </a:avLst>
          </a:prstGeom>
          <a:gradFill flip="none" rotWithShape="1"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31BF7EFF-4268-A886-3979-690FFC2B95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94154" y="1828800"/>
            <a:ext cx="5895349" cy="2911572"/>
          </a:xfrm>
        </p:spPr>
        <p:txBody>
          <a:bodyPr/>
          <a:lstStyle/>
          <a:p>
            <a:r>
              <a:rPr lang="ru-RU" dirty="0"/>
              <a:t>Пошаговая инструкция </a:t>
            </a:r>
            <a:br>
              <a:rPr lang="ru-RU" dirty="0"/>
            </a:br>
            <a:r>
              <a:rPr lang="ru-RU" dirty="0"/>
              <a:t>по регистрации</a:t>
            </a:r>
            <a:br>
              <a:rPr lang="ru-RU" dirty="0"/>
            </a:br>
            <a:r>
              <a:rPr lang="ru-RU" dirty="0"/>
              <a:t>на </a:t>
            </a:r>
            <a:r>
              <a:rPr lang="en-US" dirty="0"/>
              <a:t>OZON B2B</a:t>
            </a: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8A583B3-63ED-4FA2-8303-93B2A2A53E08}"/>
              </a:ext>
            </a:extLst>
          </p:cNvPr>
          <p:cNvSpPr txBox="1"/>
          <p:nvPr/>
        </p:nvSpPr>
        <p:spPr>
          <a:xfrm>
            <a:off x="5637847" y="2971800"/>
            <a:ext cx="914400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400" dirty="0" err="1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68B2F69-69B0-43E0-9EF4-4266C794F8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8189" y="1261777"/>
            <a:ext cx="3699285" cy="3699285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110FA38-3C2D-44BD-9E2B-6CE8D963C16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64208">
            <a:off x="9062396" y="3500911"/>
            <a:ext cx="1990867" cy="199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4985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FE53C7E8-A5F8-43DD-B2E4-F2506A844772}"/>
              </a:ext>
            </a:extLst>
          </p:cNvPr>
          <p:cNvSpPr/>
          <p:nvPr/>
        </p:nvSpPr>
        <p:spPr>
          <a:xfrm>
            <a:off x="639763" y="1520825"/>
            <a:ext cx="4313207" cy="4236016"/>
          </a:xfrm>
          <a:prstGeom prst="roundRect">
            <a:avLst>
              <a:gd name="adj" fmla="val 8318"/>
            </a:avLst>
          </a:prstGeom>
          <a:solidFill>
            <a:srgbClr val="004E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CF61C732-507D-4D48-92E0-43A82F0136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E3D7706-1D4C-4D99-8293-D6C2B1635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Объект 3">
            <a:extLst>
              <a:ext uri="{FF2B5EF4-FFF2-40B4-BE49-F238E27FC236}">
                <a16:creationId xmlns:a16="http://schemas.microsoft.com/office/drawing/2014/main" id="{325AB78A-B84D-4DC7-A943-B57291CEEA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65630" y="1538771"/>
            <a:ext cx="6826370" cy="4926250"/>
          </a:xfrm>
        </p:spPr>
        <p:txBody>
          <a:bodyPr/>
          <a:lstStyle/>
          <a:p>
            <a:pPr marL="914400" indent="-457200">
              <a:lnSpc>
                <a:spcPct val="107000"/>
              </a:lnSpc>
              <a:spcBef>
                <a:spcPts val="300"/>
              </a:spcBef>
              <a:buAutoNum type="arabicPeriod"/>
            </a:pPr>
            <a:r>
              <a:rPr lang="ru-RU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На сайте </a:t>
            </a:r>
            <a:r>
              <a:rPr lang="ru-RU" sz="2000" u="sng" dirty="0">
                <a:effectLst/>
                <a:ea typeface="Calibri" panose="020F0502020204030204" pitchFamily="34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ozon.ru/</a:t>
            </a:r>
            <a:r>
              <a:rPr lang="ru-RU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войдите </a:t>
            </a:r>
            <a:br>
              <a:rPr lang="ru-RU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как физическое лицо</a:t>
            </a:r>
          </a:p>
          <a:p>
            <a:pPr marL="914400" indent="-457200">
              <a:lnSpc>
                <a:spcPct val="107000"/>
              </a:lnSpc>
              <a:spcBef>
                <a:spcPts val="300"/>
              </a:spcBef>
              <a:buAutoNum type="arabicPeriod"/>
            </a:pPr>
            <a:r>
              <a:rPr lang="ru-RU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Далее на верхней панели выберите</a:t>
            </a:r>
            <a:br>
              <a:rPr lang="ru-RU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«Для бизнеса» и «Покупать как юрлицо»</a:t>
            </a:r>
            <a:br>
              <a:rPr lang="ru-RU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ЛИБО перейдите по </a:t>
            </a:r>
            <a:r>
              <a:rPr lang="en-US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QR</a:t>
            </a:r>
            <a:r>
              <a:rPr lang="ru-RU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-коду</a:t>
            </a:r>
            <a:endParaRPr lang="ru-RU" sz="2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914400" indent="-457200">
              <a:lnSpc>
                <a:spcPct val="107000"/>
              </a:lnSpc>
              <a:spcBef>
                <a:spcPts val="300"/>
              </a:spcBef>
              <a:buAutoNum type="arabicPeriod"/>
            </a:pPr>
            <a:r>
              <a:rPr lang="ru-RU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Укажите ИНН компании или ИП клиента </a:t>
            </a:r>
          </a:p>
          <a:p>
            <a:pPr marL="914400" indent="-457200">
              <a:lnSpc>
                <a:spcPct val="107000"/>
              </a:lnSpc>
              <a:spcBef>
                <a:spcPts val="300"/>
              </a:spcBef>
              <a:buAutoNum type="arabicPeriod"/>
            </a:pPr>
            <a:r>
              <a:rPr lang="ru-RU" sz="2000" dirty="0">
                <a:ea typeface="Calibri" panose="020F0502020204030204" pitchFamily="34" charset="0"/>
                <a:cs typeface="Times New Roman" panose="02020603050405020304" pitchFamily="18" charset="0"/>
              </a:rPr>
              <a:t>Проверьте корректность реквизитов компании</a:t>
            </a:r>
            <a:endParaRPr lang="ru-RU" sz="20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914400" indent="-457200">
              <a:lnSpc>
                <a:spcPct val="107000"/>
              </a:lnSpc>
              <a:spcBef>
                <a:spcPts val="300"/>
              </a:spcBef>
              <a:buAutoNum type="arabicPeriod"/>
            </a:pPr>
            <a:r>
              <a:rPr lang="ru-RU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одключите ЭДО, чтобы получать по заказам оригиналы документов, а не сканы </a:t>
            </a:r>
            <a:endParaRPr lang="ru-RU" sz="2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914400" indent="-457200">
              <a:lnSpc>
                <a:spcPct val="107000"/>
              </a:lnSpc>
              <a:spcBef>
                <a:spcPts val="300"/>
              </a:spcBef>
              <a:buAutoNum type="arabicPeriod"/>
            </a:pPr>
            <a:r>
              <a:rPr lang="ru-RU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Теперь клиент может оформлять </a:t>
            </a:r>
            <a:br>
              <a:rPr lang="ru-RU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заказ как юридическое лицо</a:t>
            </a:r>
          </a:p>
          <a:p>
            <a:endParaRPr lang="ru-RU" sz="2000" dirty="0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54F8F793-CCBF-4F4A-9898-8D98C73A4DB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321" y="1636432"/>
            <a:ext cx="4008620" cy="4008620"/>
          </a:xfrm>
          <a:prstGeom prst="roundRect">
            <a:avLst>
              <a:gd name="adj" fmla="val 7318"/>
            </a:avLst>
          </a:prstGeom>
        </p:spPr>
      </p:pic>
      <p:sp>
        <p:nvSpPr>
          <p:cNvPr id="15" name="Заголовок 2">
            <a:extLst>
              <a:ext uri="{FF2B5EF4-FFF2-40B4-BE49-F238E27FC236}">
                <a16:creationId xmlns:a16="http://schemas.microsoft.com/office/drawing/2014/main" id="{AEE59C9F-792D-4785-9D05-52BB619D5F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</p:spPr>
        <p:txBody>
          <a:bodyPr/>
          <a:lstStyle/>
          <a:p>
            <a:r>
              <a:rPr lang="ru-RU" dirty="0"/>
              <a:t>Краткая инструкция: </a:t>
            </a:r>
          </a:p>
        </p:txBody>
      </p:sp>
      <p:pic>
        <p:nvPicPr>
          <p:cNvPr id="18" name="Рисунок 17">
            <a:hlinkClick r:id="" action="ppaction://noaction"/>
            <a:extLst>
              <a:ext uri="{FF2B5EF4-FFF2-40B4-BE49-F238E27FC236}">
                <a16:creationId xmlns:a16="http://schemas.microsoft.com/office/drawing/2014/main" id="{D7CEFEDB-E294-441C-AEC5-CE902AD5A2A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4506" y="141586"/>
            <a:ext cx="572522" cy="539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8313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48F6838-F304-467A-9666-F75FFD13AA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28F1975C-7A06-4DE1-AB16-456BAA17CE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де мы находимся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C662077-0D9D-40C5-A9D0-6049E5B3DC50}"/>
              </a:ext>
            </a:extLst>
          </p:cNvPr>
          <p:cNvSpPr txBox="1"/>
          <p:nvPr/>
        </p:nvSpPr>
        <p:spPr>
          <a:xfrm>
            <a:off x="9294248" y="1529599"/>
            <a:ext cx="2290795" cy="14333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</a:rPr>
              <a:t>ШАГ 1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</a:rPr>
            </a:b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</a:rPr>
              <a:t> </a:t>
            </a:r>
            <a:b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</a:rPr>
            </a:b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</a:rPr>
              <a:t>Выберите </a:t>
            </a:r>
            <a:b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</a:rPr>
            </a:b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</a:rPr>
              <a:t>«Для бизнеса», </a:t>
            </a:r>
            <a:b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</a:rPr>
            </a:br>
            <a:b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</a:rPr>
            </a:b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</a:rPr>
              <a:t>После </a:t>
            </a:r>
            <a:b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</a:rPr>
            </a:b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</a:rPr>
              <a:t>«Покупать как юрлицо»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4E40E41-9AEB-4230-8616-F112123671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5458" y="1528764"/>
            <a:ext cx="8177868" cy="4189626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C7435F61-2BD0-4EA9-A455-185486226869}"/>
              </a:ext>
            </a:extLst>
          </p:cNvPr>
          <p:cNvSpPr/>
          <p:nvPr/>
        </p:nvSpPr>
        <p:spPr>
          <a:xfrm>
            <a:off x="3121494" y="1972698"/>
            <a:ext cx="923637" cy="229651"/>
          </a:xfrm>
          <a:prstGeom prst="rect">
            <a:avLst/>
          </a:prstGeom>
          <a:noFill/>
          <a:ln w="57150" cap="flat" cmpd="sng" algn="ctr">
            <a:solidFill>
              <a:srgbClr val="FA0F55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id="{BEDE022F-3E64-4871-8E08-B3D9F9A722F9}"/>
              </a:ext>
            </a:extLst>
          </p:cNvPr>
          <p:cNvCxnSpPr>
            <a:cxnSpLocks/>
          </p:cNvCxnSpPr>
          <p:nvPr/>
        </p:nvCxnSpPr>
        <p:spPr>
          <a:xfrm flipH="1">
            <a:off x="3968931" y="2727793"/>
            <a:ext cx="377844" cy="282158"/>
          </a:xfrm>
          <a:prstGeom prst="straightConnector1">
            <a:avLst/>
          </a:prstGeom>
          <a:noFill/>
          <a:ln w="57150" cap="flat" cmpd="sng" algn="ctr">
            <a:solidFill>
              <a:srgbClr val="FA0F55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50448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48F6838-F304-467A-9666-F75FFD13AA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28F1975C-7A06-4DE1-AB16-456BAA17CE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кажите ИНН компании </a:t>
            </a:r>
            <a:br>
              <a:rPr lang="ru-RU" dirty="0"/>
            </a:b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2FC4612-86B3-4E60-892D-0FC7F67E2A05}"/>
              </a:ext>
            </a:extLst>
          </p:cNvPr>
          <p:cNvSpPr txBox="1"/>
          <p:nvPr/>
        </p:nvSpPr>
        <p:spPr>
          <a:xfrm>
            <a:off x="2053087" y="188055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ru-RU" sz="1400" dirty="0" err="1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2AA8F402-68B3-456F-93EF-38AB0668E8C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7840"/>
          <a:stretch/>
        </p:blipFill>
        <p:spPr>
          <a:xfrm>
            <a:off x="639764" y="1429370"/>
            <a:ext cx="7900387" cy="4478737"/>
          </a:xfrm>
          <a:prstGeom prst="rect">
            <a:avLst/>
          </a:prstGeom>
        </p:spPr>
      </p:pic>
      <p:sp>
        <p:nvSpPr>
          <p:cNvPr id="8" name="Овал 7">
            <a:extLst>
              <a:ext uri="{FF2B5EF4-FFF2-40B4-BE49-F238E27FC236}">
                <a16:creationId xmlns:a16="http://schemas.microsoft.com/office/drawing/2014/main" id="{172F3F7B-C50B-4640-8D16-2F0D4539A80D}"/>
              </a:ext>
            </a:extLst>
          </p:cNvPr>
          <p:cNvSpPr/>
          <p:nvPr/>
        </p:nvSpPr>
        <p:spPr>
          <a:xfrm>
            <a:off x="9592169" y="3535088"/>
            <a:ext cx="357804" cy="26730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4EF3FA-4B49-47CD-B664-9043CD0A64D9}"/>
              </a:ext>
            </a:extLst>
          </p:cNvPr>
          <p:cNvSpPr txBox="1"/>
          <p:nvPr/>
        </p:nvSpPr>
        <p:spPr>
          <a:xfrm>
            <a:off x="9274998" y="1520825"/>
            <a:ext cx="2290795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</a:rPr>
              <a:t>ШАГ 2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</a:rPr>
            </a:b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</a:rPr>
              <a:t> </a:t>
            </a:r>
            <a:b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</a:rPr>
            </a:b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</a:rPr>
              <a:t>Введите ИНН компании</a:t>
            </a:r>
          </a:p>
        </p:txBody>
      </p:sp>
    </p:spTree>
    <p:extLst>
      <p:ext uri="{BB962C8B-B14F-4D97-AF65-F5344CB8AC3E}">
        <p14:creationId xmlns:p14="http://schemas.microsoft.com/office/powerpoint/2010/main" val="12748607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CF61C732-507D-4D48-92E0-43A82F0136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E3D7706-1D4C-4D99-8293-D6C2B1635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878A59D-4C7F-4233-8530-66F35C3B402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549"/>
          <a:stretch/>
        </p:blipFill>
        <p:spPr>
          <a:xfrm>
            <a:off x="639764" y="1520826"/>
            <a:ext cx="8198584" cy="474186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2C8C464-283C-461F-9C49-2BE6DCB17C59}"/>
              </a:ext>
            </a:extLst>
          </p:cNvPr>
          <p:cNvSpPr txBox="1"/>
          <p:nvPr/>
        </p:nvSpPr>
        <p:spPr>
          <a:xfrm>
            <a:off x="9274998" y="1524202"/>
            <a:ext cx="2290795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ШАГ 3</a:t>
            </a:r>
            <a:b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верьте корректность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еквизитов компании 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515D5CE3-C926-4FF5-8076-31798843630D}"/>
              </a:ext>
            </a:extLst>
          </p:cNvPr>
          <p:cNvSpPr/>
          <p:nvPr/>
        </p:nvSpPr>
        <p:spPr>
          <a:xfrm>
            <a:off x="2006600" y="2209800"/>
            <a:ext cx="4250267" cy="1219200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DF4A852-0AE5-421F-B127-3DCD0F9DD23F}"/>
              </a:ext>
            </a:extLst>
          </p:cNvPr>
          <p:cNvSpPr/>
          <p:nvPr/>
        </p:nvSpPr>
        <p:spPr>
          <a:xfrm>
            <a:off x="6870700" y="1481667"/>
            <a:ext cx="407554" cy="393700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157BB0C-1781-4961-8B49-5671817CB78C}"/>
              </a:ext>
            </a:extLst>
          </p:cNvPr>
          <p:cNvSpPr/>
          <p:nvPr/>
        </p:nvSpPr>
        <p:spPr>
          <a:xfrm>
            <a:off x="715963" y="4709160"/>
            <a:ext cx="927329" cy="183393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FF565846-F97F-4774-99DF-D48260D82E8E}"/>
              </a:ext>
            </a:extLst>
          </p:cNvPr>
          <p:cNvSpPr/>
          <p:nvPr/>
        </p:nvSpPr>
        <p:spPr>
          <a:xfrm>
            <a:off x="6703453" y="1355363"/>
            <a:ext cx="249382" cy="249382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68BE7C1E-F92D-427A-AA09-DA5332419145}"/>
              </a:ext>
            </a:extLst>
          </p:cNvPr>
          <p:cNvSpPr/>
          <p:nvPr/>
        </p:nvSpPr>
        <p:spPr>
          <a:xfrm>
            <a:off x="555414" y="4584469"/>
            <a:ext cx="249382" cy="249382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9465A509-975C-4114-9568-C4B03C8CA3AB}"/>
              </a:ext>
            </a:extLst>
          </p:cNvPr>
          <p:cNvSpPr/>
          <p:nvPr/>
        </p:nvSpPr>
        <p:spPr>
          <a:xfrm>
            <a:off x="1881909" y="2059753"/>
            <a:ext cx="249382" cy="249382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15" name="Заголовок 2">
            <a:extLst>
              <a:ext uri="{FF2B5EF4-FFF2-40B4-BE49-F238E27FC236}">
                <a16:creationId xmlns:a16="http://schemas.microsoft.com/office/drawing/2014/main" id="{E9BB3681-6F36-4356-850E-0DEEBA004F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</p:spPr>
        <p:txBody>
          <a:bodyPr/>
          <a:lstStyle/>
          <a:p>
            <a:r>
              <a:rPr lang="ru-RU" dirty="0"/>
              <a:t>Проверьте данные</a:t>
            </a:r>
          </a:p>
        </p:txBody>
      </p:sp>
      <p:sp>
        <p:nvSpPr>
          <p:cNvPr id="16" name="Прямоугольник 1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8CD02E6F-528A-4685-9ABF-09879C96BE62}"/>
              </a:ext>
            </a:extLst>
          </p:cNvPr>
          <p:cNvSpPr/>
          <p:nvPr/>
        </p:nvSpPr>
        <p:spPr>
          <a:xfrm>
            <a:off x="11112561" y="1005905"/>
            <a:ext cx="1075316" cy="50054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Прямоугольник 1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C8BE351C-31BB-4091-B494-344B4F52C610}"/>
              </a:ext>
            </a:extLst>
          </p:cNvPr>
          <p:cNvSpPr/>
          <p:nvPr/>
        </p:nvSpPr>
        <p:spPr>
          <a:xfrm>
            <a:off x="0" y="910695"/>
            <a:ext cx="1079439" cy="51443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Прямоугольник 17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EE6CFC35-3643-4057-8608-5AF95F2FBD94}"/>
              </a:ext>
            </a:extLst>
          </p:cNvPr>
          <p:cNvSpPr/>
          <p:nvPr/>
        </p:nvSpPr>
        <p:spPr>
          <a:xfrm>
            <a:off x="364067" y="6310284"/>
            <a:ext cx="1185332" cy="458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51727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zon_official_v1">
  <a:themeElements>
    <a:clrScheme name="Ozon">
      <a:dk1>
        <a:srgbClr val="0E1114"/>
      </a:dk1>
      <a:lt1>
        <a:srgbClr val="FFFFFF"/>
      </a:lt1>
      <a:dk2>
        <a:srgbClr val="0E1114"/>
      </a:dk2>
      <a:lt2>
        <a:srgbClr val="FFFFFF"/>
      </a:lt2>
      <a:accent1>
        <a:srgbClr val="005BFF"/>
      </a:accent1>
      <a:accent2>
        <a:srgbClr val="F1117E"/>
      </a:accent2>
      <a:accent3>
        <a:srgbClr val="00A2FF"/>
      </a:accent3>
      <a:accent4>
        <a:srgbClr val="61E1F4"/>
      </a:accent4>
      <a:accent5>
        <a:srgbClr val="CBDEFF"/>
      </a:accent5>
      <a:accent6>
        <a:srgbClr val="96A3AE"/>
      </a:accent6>
      <a:hlink>
        <a:srgbClr val="005BFF"/>
      </a:hlink>
      <a:folHlink>
        <a:srgbClr val="3D5165"/>
      </a:folHlink>
    </a:clrScheme>
    <a:fontScheme name="Ozon_offic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Aft>
            <a:spcPts val="600"/>
          </a:spcAft>
          <a:defRPr sz="1400" dirty="0" err="1" smtClean="0"/>
        </a:defPPr>
      </a:lstStyle>
    </a:txDef>
  </a:objectDefaults>
  <a:extraClrSchemeLst/>
  <a:custClrLst>
    <a:custClr name="ozPositive">
      <a:srgbClr val="10C44C"/>
    </a:custClr>
    <a:custClr name="ozPositive_1">
      <a:srgbClr val="B7EDC9"/>
    </a:custClr>
    <a:custClr name="ozWarning">
      <a:srgbClr val="FFA800"/>
    </a:custClr>
    <a:custClr name="ozWarning_1">
      <a:srgbClr val="FFE5B2"/>
    </a:custClr>
    <a:custClr name="ozNegative">
      <a:srgbClr val="F53C14"/>
    </a:custClr>
    <a:custClr name="ozNegative_1">
      <a:srgbClr val="FCC4B8"/>
    </a:custClr>
    <a:custClr name="ozTertiary">
      <a:srgbClr val="002E7F"/>
    </a:custClr>
  </a:custClrLst>
  <a:extLst>
    <a:ext uri="{05A4C25C-085E-4340-85A3-A5531E510DB2}">
      <thm15:themeFamily xmlns:thm15="http://schemas.microsoft.com/office/thememl/2012/main" name="Ozon_official_v1" id="{3F26DB61-5175-45AF-B953-8423E7FAAB55}" vid="{CD7E0679-66B5-42D5-9E99-9321BBCAC150}"/>
    </a:ext>
  </a:extLst>
</a:theme>
</file>

<file path=ppt/theme/theme2.xml><?xml version="1.0" encoding="utf-8"?>
<a:theme xmlns:a="http://schemas.openxmlformats.org/drawingml/2006/main" name="1_Ozon_official_v1">
  <a:themeElements>
    <a:clrScheme name="Ozon">
      <a:dk1>
        <a:srgbClr val="0E1114"/>
      </a:dk1>
      <a:lt1>
        <a:srgbClr val="FFFFFF"/>
      </a:lt1>
      <a:dk2>
        <a:srgbClr val="0E1114"/>
      </a:dk2>
      <a:lt2>
        <a:srgbClr val="FFFFFF"/>
      </a:lt2>
      <a:accent1>
        <a:srgbClr val="005AFF"/>
      </a:accent1>
      <a:accent2>
        <a:srgbClr val="FA0F55"/>
      </a:accent2>
      <a:accent3>
        <a:srgbClr val="00A2FF"/>
      </a:accent3>
      <a:accent4>
        <a:srgbClr val="61E1F4"/>
      </a:accent4>
      <a:accent5>
        <a:srgbClr val="CBDEFF"/>
      </a:accent5>
      <a:accent6>
        <a:srgbClr val="96A3AE"/>
      </a:accent6>
      <a:hlink>
        <a:srgbClr val="005BFF"/>
      </a:hlink>
      <a:folHlink>
        <a:srgbClr val="3D5165"/>
      </a:folHlink>
    </a:clrScheme>
    <a:fontScheme name="Ozon_offic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Aft>
            <a:spcPts val="600"/>
          </a:spcAft>
          <a:defRPr sz="1400" dirty="0" err="1" smtClean="0"/>
        </a:defPPr>
      </a:lstStyle>
    </a:txDef>
  </a:objectDefaults>
  <a:extraClrSchemeLst/>
  <a:custClrLst>
    <a:custClr name="ozPositive">
      <a:srgbClr val="10C44C"/>
    </a:custClr>
    <a:custClr name="ozPositive_1">
      <a:srgbClr val="B7EDC9"/>
    </a:custClr>
    <a:custClr name="ozWarning">
      <a:srgbClr val="FFA800"/>
    </a:custClr>
    <a:custClr name="ozWarning_1">
      <a:srgbClr val="FFE5B2"/>
    </a:custClr>
    <a:custClr name="ozNegative">
      <a:srgbClr val="F53C14"/>
    </a:custClr>
    <a:custClr name="ozNegative_1">
      <a:srgbClr val="FCC4B8"/>
    </a:custClr>
    <a:custClr name="ozTertiary">
      <a:srgbClr val="090089"/>
    </a:custClr>
  </a:custClrLst>
  <a:extLst>
    <a:ext uri="{05A4C25C-085E-4340-85A3-A5531E510DB2}">
      <thm15:themeFamily xmlns:thm15="http://schemas.microsoft.com/office/thememl/2012/main" name="Ozon_official_v1" id="{3F26DB61-5175-45AF-B953-8423E7FAAB55}" vid="{CD7E0679-66B5-42D5-9E99-9321BBCAC150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zon_official_v1</Template>
  <TotalTime>12009</TotalTime>
  <Words>695</Words>
  <Application>Microsoft Office PowerPoint</Application>
  <PresentationFormat>Широкоэкранный</PresentationFormat>
  <Paragraphs>250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8" baseType="lpstr">
      <vt:lpstr>Arial</vt:lpstr>
      <vt:lpstr>Arial Black</vt:lpstr>
      <vt:lpstr>Calibri</vt:lpstr>
      <vt:lpstr>Ozon_official_v1</vt:lpstr>
      <vt:lpstr>1_Ozon_official_v1</vt:lpstr>
      <vt:lpstr>Слайд think-cell</vt:lpstr>
      <vt:lpstr>Аналитика категории канцелярские товары на Ozon</vt:lpstr>
      <vt:lpstr>Прирост продаж 2024 – 1кв 2026</vt:lpstr>
      <vt:lpstr>Доля категорий 2023 – 2025 </vt:lpstr>
      <vt:lpstr>Сравнение долей компаний на основе продаж Канцобоз и на площадке Ozon за 2023-2025 гг.</vt:lpstr>
      <vt:lpstr>Пошаговая инструкция  по регистрации на OZON B2B</vt:lpstr>
      <vt:lpstr>Краткая инструкция: </vt:lpstr>
      <vt:lpstr>Где мы находимся</vt:lpstr>
      <vt:lpstr>Укажите ИНН компании  </vt:lpstr>
      <vt:lpstr>Проверьте данные</vt:lpstr>
      <vt:lpstr>Подключите ЭДО, пройдите верификацию</vt:lpstr>
      <vt:lpstr>Презентация PowerPoint</vt:lpstr>
      <vt:lpstr>Ознакомиться с предложением Ozon retail можно здесь</vt:lpstr>
    </vt:vector>
  </TitlesOfParts>
  <Company>OZ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strovlyanchik Pavel Viktorovich</dc:creator>
  <cp:lastModifiedBy>Ryabkov Konstantin Nikolaevich</cp:lastModifiedBy>
  <cp:revision>277</cp:revision>
  <dcterms:created xsi:type="dcterms:W3CDTF">2022-12-14T11:41:06Z</dcterms:created>
  <dcterms:modified xsi:type="dcterms:W3CDTF">2026-05-11T14:32:25Z</dcterms:modified>
</cp:coreProperties>
</file>